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64" r:id="rId2"/>
    <p:sldId id="257" r:id="rId3"/>
    <p:sldId id="263" r:id="rId4"/>
    <p:sldId id="265" r:id="rId5"/>
    <p:sldId id="266" r:id="rId6"/>
    <p:sldId id="267" r:id="rId7"/>
    <p:sldId id="269" r:id="rId8"/>
    <p:sldId id="268" r:id="rId9"/>
    <p:sldId id="270" r:id="rId10"/>
    <p:sldId id="271" r:id="rId11"/>
    <p:sldId id="272" r:id="rId12"/>
  </p:sldIdLst>
  <p:sldSz cx="12192000" cy="6858000"/>
  <p:notesSz cx="6858000" cy="9144000"/>
  <p:custDataLst>
    <p:tags r:id="rId13"/>
  </p:custDataLst>
  <p:defaultTextStyle>
    <a:defPPr>
      <a:defRPr lang="en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F4F8"/>
    <a:srgbClr val="6BE27D"/>
    <a:srgbClr val="333333"/>
    <a:srgbClr val="EE9D2F"/>
    <a:srgbClr val="EB59CE"/>
    <a:srgbClr val="F6DE32"/>
    <a:srgbClr val="EEC132"/>
    <a:srgbClr val="BAF440"/>
    <a:srgbClr val="64D267"/>
    <a:srgbClr val="79EB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15"/>
  </p:normalViewPr>
  <p:slideViewPr>
    <p:cSldViewPr snapToGrid="0">
      <p:cViewPr varScale="1">
        <p:scale>
          <a:sx n="106" d="100"/>
          <a:sy n="106" d="100"/>
        </p:scale>
        <p:origin x="792" y="176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806509945750453E-2"/>
          <c:y val="1.8806509945750453E-2"/>
          <c:w val="0.9623869801084991"/>
          <c:h val="0.962386980108499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63D16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F49-BD4F-A92F-6CEFA7B08042}"/>
              </c:ext>
            </c:extLst>
          </c:dPt>
          <c:dPt>
            <c:idx val="1"/>
            <c:bubble3D val="0"/>
            <c:spPr>
              <a:solidFill>
                <a:srgbClr val="F9CA3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F49-BD4F-A92F-6CEFA7B08042}"/>
              </c:ext>
            </c:extLst>
          </c:dPt>
          <c:dPt>
            <c:idx val="2"/>
            <c:bubble3D val="0"/>
            <c:spPr>
              <a:solidFill>
                <a:srgbClr val="ED495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F49-BD4F-A92F-6CEFA7B08042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18</c:v>
                </c:pt>
                <c:pt idx="1">
                  <c:v>19</c:v>
                </c:pt>
                <c:pt idx="2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F49-BD4F-A92F-6CEFA7B080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27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4F58B-EE50-21E5-A952-40FCA44C45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EBDFA2-D173-0C0B-3B4D-E9DD4482C3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E56BDF-E2CC-57E9-5DF0-BBDA15976B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35DA0-5AF4-874F-BD9F-4A698FF21AE2}" type="datetimeFigureOut">
              <a:rPr lang="es-ES_tradnl" smtClean="0"/>
              <a:t>7/5/23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133420-1E11-F29C-DC55-27B319DC6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C1FB2-2D54-DB2C-16E4-FDEE32FD4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EE80D-BFA9-A648-9D73-4E4777F66B8F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880609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8AA708-51CA-FC3E-9E82-884B9A249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2081DC-D34A-18E0-7D8C-A52E04EBBA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D8F7E7-6835-7BBB-A6F5-2922837BD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35DA0-5AF4-874F-BD9F-4A698FF21AE2}" type="datetimeFigureOut">
              <a:rPr lang="es-ES_tradnl" smtClean="0"/>
              <a:t>7/5/23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36F79E-C59B-BE1A-22C9-CD1A910F9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8AA94D-5264-036E-14FC-EE011DA71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EE80D-BFA9-A648-9D73-4E4777F66B8F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2336116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7141A75-7C20-E4C8-E08F-5D889073441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52125A-2612-5B38-9A2D-C757D3B5A3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526189-C687-D973-6060-8E7CA6ADC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35DA0-5AF4-874F-BD9F-4A698FF21AE2}" type="datetimeFigureOut">
              <a:rPr lang="es-ES_tradnl" smtClean="0"/>
              <a:t>7/5/23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F41424-4D0B-C251-4072-3012D916A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05FB6E-B212-23B5-BEC6-B73A215E7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EE80D-BFA9-A648-9D73-4E4777F66B8F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255869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1AE6FC-F86D-3FA9-36FF-BAA7D50D9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CCDEEF-F6EC-A440-8172-EE3C035F12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414D2C-7AA9-C247-C1CC-2D1D3EE32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35DA0-5AF4-874F-BD9F-4A698FF21AE2}" type="datetimeFigureOut">
              <a:rPr lang="es-ES_tradnl" smtClean="0"/>
              <a:t>7/5/23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F5A17B-1BFD-B9A1-A60A-A2F26D0D1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88E7DB-E17B-6EE6-7DA4-6DF8178EC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EE80D-BFA9-A648-9D73-4E4777F66B8F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335191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8F374-76BA-012C-077A-5F3AB42D41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50912D-5BC5-38ED-F1A0-3FA77D1F08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F915A2-3B1C-2C66-6A2F-2ABF6F4A7F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35DA0-5AF4-874F-BD9F-4A698FF21AE2}" type="datetimeFigureOut">
              <a:rPr lang="es-ES_tradnl" smtClean="0"/>
              <a:t>7/5/23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6A0554-8C3E-6D28-AAEA-A09C27843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3BA21C-44FE-C057-36F0-3FA2ABC53A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EE80D-BFA9-A648-9D73-4E4777F66B8F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60534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B079F-0BF7-7796-F1D7-86DB0BE89C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2CC9A3-69CE-0955-C76F-6E6347C18FA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C99D21-E726-A528-56EB-A0178C5381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BE413F-3322-0CA1-A0B0-DA62C2E227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35DA0-5AF4-874F-BD9F-4A698FF21AE2}" type="datetimeFigureOut">
              <a:rPr lang="es-ES_tradnl" smtClean="0"/>
              <a:t>7/5/23</a:t>
            </a:fld>
            <a:endParaRPr lang="es-ES_trad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6A08E5-EFC8-50E3-4C1A-35067C408A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8503F6-968C-83FC-6DCD-8DEA1C3FD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EE80D-BFA9-A648-9D73-4E4777F66B8F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01651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B1E99-37FA-EA38-5749-E250756EF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24BB08-1725-290C-20DC-1AACA780A7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12A5FA-44B6-2A16-25B5-CE8DD193DD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6592BA-E5DC-93F5-FDDB-FA4DF6F1A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528B7D-2221-1828-07D5-D048C982DF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79995F-0E80-48D8-6DEE-0AFFDB98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35DA0-5AF4-874F-BD9F-4A698FF21AE2}" type="datetimeFigureOut">
              <a:rPr lang="es-ES_tradnl" smtClean="0"/>
              <a:t>7/5/23</a:t>
            </a:fld>
            <a:endParaRPr lang="es-ES_trad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7604B49-900C-913F-0B61-40C7B3CD4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BC152A-97E2-7382-2439-AD54FA85DD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EE80D-BFA9-A648-9D73-4E4777F66B8F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07914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0777DC-E723-A6A9-D22C-A58346E30A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3A2E6A-D4BC-FE0D-32D0-FC810EE492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35DA0-5AF4-874F-BD9F-4A698FF21AE2}" type="datetimeFigureOut">
              <a:rPr lang="es-ES_tradnl" smtClean="0"/>
              <a:t>7/5/23</a:t>
            </a:fld>
            <a:endParaRPr lang="es-ES_trad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403594B-07DE-4279-1D9B-13037D3F2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F45D8B-F761-D04F-9F0D-851FCDC48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EE80D-BFA9-A648-9D73-4E4777F66B8F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234181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A91162-6BBA-D2CC-B83B-1C645E5799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35DA0-5AF4-874F-BD9F-4A698FF21AE2}" type="datetimeFigureOut">
              <a:rPr lang="es-ES_tradnl" smtClean="0"/>
              <a:t>7/5/23</a:t>
            </a:fld>
            <a:endParaRPr lang="es-ES_trad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9241A3-97CE-C4C1-9E41-647CEBC19F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A17923-4B0D-15CE-6601-5D3BC0DEF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EE80D-BFA9-A648-9D73-4E4777F66B8F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383291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DFCF5-2E1D-307A-4459-B9153BC59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322C66-1C1C-754E-39BE-AB0741444E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CF2D8-6DE3-B29B-8A1D-A0BD4FAE36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2FC3C0-9A9C-27B3-557C-3B09EBD39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35DA0-5AF4-874F-BD9F-4A698FF21AE2}" type="datetimeFigureOut">
              <a:rPr lang="es-ES_tradnl" smtClean="0"/>
              <a:t>7/5/23</a:t>
            </a:fld>
            <a:endParaRPr lang="es-ES_trad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8B6F1A-3F59-4E23-18BA-8236ED427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291D4B-7BB2-460F-3D40-A25015507A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EE80D-BFA9-A648-9D73-4E4777F66B8F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805064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AFAE6-FF64-9867-1FE4-2D536BB04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1D02D9-F22A-C79A-4566-B15681A7B5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_trad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2B9E2B-1D82-BA1F-4FAF-920CD9DDCD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3C6386-0684-4996-B231-453A4A5BB3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35DA0-5AF4-874F-BD9F-4A698FF21AE2}" type="datetimeFigureOut">
              <a:rPr lang="es-ES_tradnl" smtClean="0"/>
              <a:t>7/5/23</a:t>
            </a:fld>
            <a:endParaRPr lang="es-ES_trad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A101BE-D699-51EC-9048-DFFD94E3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F0D148-8A14-7F24-3EF4-6794FF9B89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EE80D-BFA9-A648-9D73-4E4777F66B8F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232378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F4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78F4FEE-5313-E08B-967C-707585FB0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102404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CC772C7-AF22-AF50-DB15-748AE4BBD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226DFF-285B-58D3-191F-683E5A6A24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D761C-6AAD-350B-CB50-3C7A5B6CBD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035DA0-5AF4-874F-BD9F-4A698FF21AE2}" type="datetimeFigureOut">
              <a:rPr lang="es-ES_tradnl" smtClean="0"/>
              <a:t>7/5/23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C6FD14-D9B6-0C54-C168-3B7CB7BA27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8550D8-A525-6014-37C1-E3220FCE58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2EE80D-BFA9-A648-9D73-4E4777F66B8F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642690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0.jpeg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1.jpeg"/><Relationship Id="rId4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microsoft.com/office/2007/relationships/hdphoto" Target="../media/hdphoto2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chart" Target="../charts/chart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3F57FE8-D7A7-4F8D-625D-068EC5C32E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3F57FE8-D7A7-4F8D-625D-068EC5C32E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9DAA2EE-0136-58DE-F256-DB0C6D57EDAB}"/>
              </a:ext>
            </a:extLst>
          </p:cNvPr>
          <p:cNvSpPr txBox="1"/>
          <p:nvPr/>
        </p:nvSpPr>
        <p:spPr>
          <a:xfrm>
            <a:off x="2236610" y="686599"/>
            <a:ext cx="750255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6600" dirty="0">
                <a:latin typeface="Aharoni" panose="02010803020104030203" pitchFamily="2" charset="-79"/>
                <a:ea typeface="Malgun Gothic" panose="020B0503020000020004" pitchFamily="34" charset="-127"/>
                <a:cs typeface="Aharoni" panose="02010803020104030203" pitchFamily="2" charset="-79"/>
              </a:rPr>
              <a:t>DATATHON - RETO</a:t>
            </a:r>
            <a:endParaRPr lang="es-ES_tradnl" sz="6600" b="1" dirty="0">
              <a:latin typeface="Aharoni" panose="02010803020104030203" pitchFamily="2" charset="-79"/>
              <a:ea typeface="Malgun Gothic" panose="020B0503020000020004" pitchFamily="34" charset="-127"/>
              <a:cs typeface="Aharoni" panose="02010803020104030203" pitchFamily="2" charset="-79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584802-A108-3BD2-FF0B-24EC22F096D0}"/>
              </a:ext>
            </a:extLst>
          </p:cNvPr>
          <p:cNvSpPr/>
          <p:nvPr/>
        </p:nvSpPr>
        <p:spPr>
          <a:xfrm>
            <a:off x="1581224" y="1983265"/>
            <a:ext cx="1795234" cy="1798655"/>
          </a:xfrm>
          <a:prstGeom prst="rect">
            <a:avLst/>
          </a:prstGeom>
          <a:solidFill>
            <a:srgbClr val="0A0A0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8287CB-AF83-AFA8-DF9C-6B0BE10EEB9F}"/>
              </a:ext>
            </a:extLst>
          </p:cNvPr>
          <p:cNvSpPr/>
          <p:nvPr/>
        </p:nvSpPr>
        <p:spPr>
          <a:xfrm>
            <a:off x="3390146" y="1983265"/>
            <a:ext cx="1795234" cy="1798655"/>
          </a:xfrm>
          <a:prstGeom prst="rect">
            <a:avLst/>
          </a:prstGeom>
          <a:solidFill>
            <a:srgbClr val="3333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71258C7-C39C-E8E3-A096-EE1F10C37D6E}"/>
              </a:ext>
            </a:extLst>
          </p:cNvPr>
          <p:cNvSpPr/>
          <p:nvPr/>
        </p:nvSpPr>
        <p:spPr>
          <a:xfrm>
            <a:off x="5211386" y="1983265"/>
            <a:ext cx="1795234" cy="1798655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CAA6777-91B3-7827-3EC3-4C6F37F2DEEF}"/>
              </a:ext>
            </a:extLst>
          </p:cNvPr>
          <p:cNvSpPr/>
          <p:nvPr/>
        </p:nvSpPr>
        <p:spPr>
          <a:xfrm>
            <a:off x="6996355" y="1983265"/>
            <a:ext cx="1795234" cy="1798655"/>
          </a:xfrm>
          <a:prstGeom prst="rect">
            <a:avLst/>
          </a:prstGeom>
          <a:solidFill>
            <a:srgbClr val="79EBF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493154E-3130-0B17-2F67-45B936D0C5CA}"/>
              </a:ext>
            </a:extLst>
          </p:cNvPr>
          <p:cNvSpPr/>
          <p:nvPr/>
        </p:nvSpPr>
        <p:spPr>
          <a:xfrm>
            <a:off x="8815541" y="3965709"/>
            <a:ext cx="1795234" cy="1798655"/>
          </a:xfrm>
          <a:prstGeom prst="rect">
            <a:avLst/>
          </a:prstGeom>
          <a:solidFill>
            <a:srgbClr val="EB59C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B34827D-ED09-1068-3E47-6B563C383BEE}"/>
              </a:ext>
            </a:extLst>
          </p:cNvPr>
          <p:cNvSpPr/>
          <p:nvPr/>
        </p:nvSpPr>
        <p:spPr>
          <a:xfrm>
            <a:off x="8815541" y="1983264"/>
            <a:ext cx="1795234" cy="1798655"/>
          </a:xfrm>
          <a:prstGeom prst="rect">
            <a:avLst/>
          </a:prstGeom>
          <a:solidFill>
            <a:srgbClr val="B9B8F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00126BA-5E27-4025-0571-D9A660615BA5}"/>
              </a:ext>
            </a:extLst>
          </p:cNvPr>
          <p:cNvSpPr/>
          <p:nvPr/>
        </p:nvSpPr>
        <p:spPr>
          <a:xfrm>
            <a:off x="1581224" y="3965710"/>
            <a:ext cx="1795234" cy="1798655"/>
          </a:xfrm>
          <a:prstGeom prst="rect">
            <a:avLst/>
          </a:prstGeom>
          <a:solidFill>
            <a:srgbClr val="6BE27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DCBF4B9-BC04-1372-857F-0B7E911D7BA3}"/>
              </a:ext>
            </a:extLst>
          </p:cNvPr>
          <p:cNvSpPr/>
          <p:nvPr/>
        </p:nvSpPr>
        <p:spPr>
          <a:xfrm>
            <a:off x="3390146" y="3965710"/>
            <a:ext cx="1795234" cy="1798655"/>
          </a:xfrm>
          <a:prstGeom prst="rect">
            <a:avLst/>
          </a:prstGeom>
          <a:solidFill>
            <a:srgbClr val="BAF44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C176D07-A332-032C-55F9-64D72EA675BC}"/>
              </a:ext>
            </a:extLst>
          </p:cNvPr>
          <p:cNvSpPr/>
          <p:nvPr/>
        </p:nvSpPr>
        <p:spPr>
          <a:xfrm>
            <a:off x="5197697" y="3965710"/>
            <a:ext cx="1795234" cy="1798655"/>
          </a:xfrm>
          <a:prstGeom prst="rect">
            <a:avLst/>
          </a:prstGeom>
          <a:solidFill>
            <a:srgbClr val="ED9D2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64CCE1F-CD53-C5EA-5642-A5537FDF0F09}"/>
              </a:ext>
            </a:extLst>
          </p:cNvPr>
          <p:cNvSpPr/>
          <p:nvPr/>
        </p:nvSpPr>
        <p:spPr>
          <a:xfrm>
            <a:off x="7006619" y="3965710"/>
            <a:ext cx="1795234" cy="1798655"/>
          </a:xfrm>
          <a:prstGeom prst="rect">
            <a:avLst/>
          </a:prstGeom>
          <a:solidFill>
            <a:srgbClr val="F6DE3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B033BD73-515F-8068-0A3B-20C11434D2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035" y="2721554"/>
            <a:ext cx="1525935" cy="322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3565BE4B-08BE-4681-3B0C-2E6AD90BEC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0906" y="4703999"/>
            <a:ext cx="1525935" cy="322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CA6B2775-446C-6C8F-A4C2-B036545EC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6196" y="2721554"/>
            <a:ext cx="1525935" cy="322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655B1FF7-73CE-51D0-4EBC-29AED45625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035" y="4699625"/>
            <a:ext cx="1525935" cy="322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BA59E52-5D36-81E2-B920-9C61BB53A378}"/>
              </a:ext>
            </a:extLst>
          </p:cNvPr>
          <p:cNvSpPr txBox="1"/>
          <p:nvPr/>
        </p:nvSpPr>
        <p:spPr>
          <a:xfrm>
            <a:off x="2357725" y="1532985"/>
            <a:ext cx="75025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dirty="0">
                <a:latin typeface="Aharoni" panose="02010803020104030203" pitchFamily="2" charset="-79"/>
                <a:ea typeface="Malgun Gothic" panose="020B0503020000020004" pitchFamily="34" charset="-127"/>
                <a:cs typeface="Aharoni" panose="02010803020104030203" pitchFamily="2" charset="-79"/>
              </a:rPr>
              <a:t>FRACTAL</a:t>
            </a:r>
            <a:endParaRPr lang="es-ES_tradnl" sz="2800" b="1" dirty="0">
              <a:latin typeface="Aharoni" panose="02010803020104030203" pitchFamily="2" charset="-79"/>
              <a:ea typeface="Malgun Gothic" panose="020B0503020000020004" pitchFamily="34" charset="-127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570046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49215F-352F-FA9C-DC66-F8F1DCB1B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49215F-352F-FA9C-DC66-F8F1DCB1B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02A01077-98AF-DF20-FD09-2F94C814089A}"/>
              </a:ext>
            </a:extLst>
          </p:cNvPr>
          <p:cNvSpPr/>
          <p:nvPr/>
        </p:nvSpPr>
        <p:spPr>
          <a:xfrm>
            <a:off x="5668242" y="0"/>
            <a:ext cx="6535481" cy="6858000"/>
          </a:xfrm>
          <a:prstGeom prst="rect">
            <a:avLst/>
          </a:prstGeom>
          <a:solidFill>
            <a:srgbClr val="6BE2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srgbClr val="ED9D2F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2289A0-0047-4F3D-CE1F-3351EA1E7683}"/>
              </a:ext>
            </a:extLst>
          </p:cNvPr>
          <p:cNvSpPr txBox="1"/>
          <p:nvPr/>
        </p:nvSpPr>
        <p:spPr>
          <a:xfrm>
            <a:off x="472193" y="193210"/>
            <a:ext cx="49760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3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ducación Financier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1B9EC0-49B9-919E-F134-158645647C66}"/>
              </a:ext>
            </a:extLst>
          </p:cNvPr>
          <p:cNvSpPr txBox="1"/>
          <p:nvPr/>
        </p:nvSpPr>
        <p:spPr>
          <a:xfrm>
            <a:off x="5888255" y="193211"/>
            <a:ext cx="60954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3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Finanzas Online Inteligentes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0B4D580B-725B-95DF-4AFA-2DF20470C0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308" y="6441210"/>
            <a:ext cx="1363558" cy="28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74" name="Picture 2" descr="47,200+ Finance Data Phone Illustrations, Royalty-Free Vector Graphics &amp;  Clip Art - iStock">
            <a:extLst>
              <a:ext uri="{FF2B5EF4-FFF2-40B4-BE49-F238E27FC236}">
                <a16:creationId xmlns:a16="http://schemas.microsoft.com/office/drawing/2014/main" id="{0577D922-3599-6CDB-C31D-69EF7BE0A0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EDE8D5"/>
              </a:clrFrom>
              <a:clrTo>
                <a:srgbClr val="EDE8D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80" t="10256" r="13297" b="9914"/>
          <a:stretch/>
        </p:blipFill>
        <p:spPr bwMode="auto">
          <a:xfrm>
            <a:off x="1828801" y="4217761"/>
            <a:ext cx="2257370" cy="2640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00D598C-6663-C4CA-26F6-31D225ED6818}"/>
              </a:ext>
            </a:extLst>
          </p:cNvPr>
          <p:cNvSpPr txBox="1"/>
          <p:nvPr/>
        </p:nvSpPr>
        <p:spPr>
          <a:xfrm>
            <a:off x="556014" y="1326052"/>
            <a:ext cx="48029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Generar conciencia </a:t>
            </a: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l cliente por medio de la visualización de sus gastos </a:t>
            </a:r>
            <a:r>
              <a:rPr lang="es-ES_tradnl" sz="20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a través de un Dashboar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9A65054-4242-7179-0619-C0D82B26B304}"/>
              </a:ext>
            </a:extLst>
          </p:cNvPr>
          <p:cNvSpPr txBox="1"/>
          <p:nvPr/>
        </p:nvSpPr>
        <p:spPr>
          <a:xfrm>
            <a:off x="1269728" y="2777433"/>
            <a:ext cx="3375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status de </a:t>
            </a:r>
            <a:r>
              <a:rPr lang="es-ES_tradnl" sz="20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alud Financier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0D9AD1F-30AE-8F14-AC9F-086ECB6B1991}"/>
              </a:ext>
            </a:extLst>
          </p:cNvPr>
          <p:cNvSpPr txBox="1"/>
          <p:nvPr/>
        </p:nvSpPr>
        <p:spPr>
          <a:xfrm>
            <a:off x="974833" y="3613261"/>
            <a:ext cx="39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Fomentar el </a:t>
            </a:r>
            <a:r>
              <a:rPr lang="es-ES_tradnl" sz="20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ahorro automático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27FCE0-B6AD-0BD1-04E5-FC7CFB61305F}"/>
              </a:ext>
            </a:extLst>
          </p:cNvPr>
          <p:cNvSpPr txBox="1"/>
          <p:nvPr/>
        </p:nvSpPr>
        <p:spPr>
          <a:xfrm>
            <a:off x="6588499" y="1326052"/>
            <a:ext cx="46949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Crear un hábito de </a:t>
            </a:r>
            <a:r>
              <a:rPr lang="es-ES_tradnl" sz="20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gastos inteligente</a:t>
            </a: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estableciendo limites por giro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44F6EC4-6D20-CEFC-AFE0-88D06BE45224}"/>
              </a:ext>
            </a:extLst>
          </p:cNvPr>
          <p:cNvSpPr txBox="1"/>
          <p:nvPr/>
        </p:nvSpPr>
        <p:spPr>
          <a:xfrm>
            <a:off x="6381955" y="2341715"/>
            <a:ext cx="52627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Notificaciones con </a:t>
            </a:r>
            <a:r>
              <a:rPr lang="es-ES_tradnl" sz="20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opciones de inversión </a:t>
            </a: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cuando ingrese dinero a la cuenta o cuando el dinero lleve tiempo sin movimiento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B8631B7-5715-7143-15B9-48BDE3AC04B2}"/>
              </a:ext>
            </a:extLst>
          </p:cNvPr>
          <p:cNvSpPr txBox="1"/>
          <p:nvPr/>
        </p:nvSpPr>
        <p:spPr>
          <a:xfrm>
            <a:off x="6304631" y="3885443"/>
            <a:ext cx="5262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Ofrecer </a:t>
            </a:r>
            <a:r>
              <a:rPr lang="es-ES_tradnl" sz="20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asas preferenciales de ahorro</a:t>
            </a:r>
          </a:p>
        </p:txBody>
      </p:sp>
    </p:spTree>
    <p:extLst>
      <p:ext uri="{BB962C8B-B14F-4D97-AF65-F5344CB8AC3E}">
        <p14:creationId xmlns:p14="http://schemas.microsoft.com/office/powerpoint/2010/main" val="26953518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49215F-352F-FA9C-DC66-F8F1DCB1B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49215F-352F-FA9C-DC66-F8F1DCB1B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37A2E5D-7A98-149E-3D09-BFAEA50D620D}"/>
              </a:ext>
            </a:extLst>
          </p:cNvPr>
          <p:cNvSpPr txBox="1"/>
          <p:nvPr/>
        </p:nvSpPr>
        <p:spPr>
          <a:xfrm>
            <a:off x="3377180" y="4948534"/>
            <a:ext cx="543763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5400" dirty="0">
                <a:latin typeface="Aharoni" panose="02010803020104030203" pitchFamily="2" charset="-79"/>
                <a:ea typeface="Malgun Gothic" panose="020B0503020000020004" pitchFamily="34" charset="-127"/>
                <a:cs typeface="Aharoni" panose="02010803020104030203" pitchFamily="2" charset="-79"/>
              </a:rPr>
              <a:t>GRACIAS</a:t>
            </a:r>
          </a:p>
        </p:txBody>
      </p:sp>
      <p:pic>
        <p:nvPicPr>
          <p:cNvPr id="8" name="Picture 7" descr="A qr code with black dots&#10;&#10;Description automatically generated with low confidence">
            <a:extLst>
              <a:ext uri="{FF2B5EF4-FFF2-40B4-BE49-F238E27FC236}">
                <a16:creationId xmlns:a16="http://schemas.microsoft.com/office/drawing/2014/main" id="{1E2A60F3-1EC2-20D4-9991-443F68F1FC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0354" y="1298331"/>
            <a:ext cx="2951285" cy="295128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1C7202D-10F0-806A-6022-D9E590633276}"/>
              </a:ext>
            </a:extLst>
          </p:cNvPr>
          <p:cNvSpPr txBox="1"/>
          <p:nvPr/>
        </p:nvSpPr>
        <p:spPr>
          <a:xfrm>
            <a:off x="3377180" y="686499"/>
            <a:ext cx="54376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400" dirty="0">
                <a:latin typeface="Malgun Gothic" panose="020B0503020000020004" pitchFamily="34" charset="-127"/>
                <a:ea typeface="Malgun Gothic" panose="020B0503020000020004" pitchFamily="34" charset="-127"/>
                <a:cs typeface="Aharoni" panose="02010803020104030203" pitchFamily="2" charset="-79"/>
              </a:rPr>
              <a:t>GitHub y Documentación</a:t>
            </a:r>
          </a:p>
        </p:txBody>
      </p:sp>
    </p:spTree>
    <p:extLst>
      <p:ext uri="{BB962C8B-B14F-4D97-AF65-F5344CB8AC3E}">
        <p14:creationId xmlns:p14="http://schemas.microsoft.com/office/powerpoint/2010/main" val="13570750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49215F-352F-FA9C-DC66-F8F1DCB1B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4932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DBFCEF20-7F02-2772-4AAE-405520FAD5D8}"/>
              </a:ext>
            </a:extLst>
          </p:cNvPr>
          <p:cNvSpPr/>
          <p:nvPr/>
        </p:nvSpPr>
        <p:spPr>
          <a:xfrm>
            <a:off x="6778752" y="0"/>
            <a:ext cx="5461235" cy="6858001"/>
          </a:xfrm>
          <a:prstGeom prst="rect">
            <a:avLst/>
          </a:prstGeom>
          <a:solidFill>
            <a:srgbClr val="79EBF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F164B0E-CD0E-270D-2FE6-DFB0F3E7B74B}"/>
              </a:ext>
            </a:extLst>
          </p:cNvPr>
          <p:cNvSpPr txBox="1"/>
          <p:nvPr/>
        </p:nvSpPr>
        <p:spPr>
          <a:xfrm>
            <a:off x="346851" y="254465"/>
            <a:ext cx="616367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La </a:t>
            </a:r>
            <a:r>
              <a:rPr lang="es-ES_tradnl" sz="2800" dirty="0">
                <a:solidFill>
                  <a:srgbClr val="ED9D2F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Revolución Financiera </a:t>
            </a:r>
            <a:r>
              <a: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sta en marcha…</a:t>
            </a:r>
          </a:p>
        </p:txBody>
      </p:sp>
      <p:pic>
        <p:nvPicPr>
          <p:cNvPr id="1034" name="Picture 10" descr="Cuenta transaccional">
            <a:extLst>
              <a:ext uri="{FF2B5EF4-FFF2-40B4-BE49-F238E27FC236}">
                <a16:creationId xmlns:a16="http://schemas.microsoft.com/office/drawing/2014/main" id="{B1DAE793-0DBC-0DD8-D388-1CA02D1E9A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0521" y="731520"/>
            <a:ext cx="5997695" cy="6126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26698F9-E75A-AC97-1A1F-3A3F03FAF7A9}"/>
              </a:ext>
            </a:extLst>
          </p:cNvPr>
          <p:cNvSpPr txBox="1"/>
          <p:nvPr/>
        </p:nvSpPr>
        <p:spPr>
          <a:xfrm>
            <a:off x="388345" y="2019545"/>
            <a:ext cx="59976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Crecimiento del acceso a interne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7994D3F-1CFB-CC46-6976-FA4C29EFF5CE}"/>
              </a:ext>
            </a:extLst>
          </p:cNvPr>
          <p:cNvSpPr txBox="1"/>
          <p:nvPr/>
        </p:nvSpPr>
        <p:spPr>
          <a:xfrm>
            <a:off x="1271884" y="2920777"/>
            <a:ext cx="42306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Penetración de smartphon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BBE09BF-E3EF-C948-01A8-E9ACF9BD038F}"/>
              </a:ext>
            </a:extLst>
          </p:cNvPr>
          <p:cNvSpPr txBox="1"/>
          <p:nvPr/>
        </p:nvSpPr>
        <p:spPr>
          <a:xfrm>
            <a:off x="1271884" y="3822009"/>
            <a:ext cx="42306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urgimiento de bancos digital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16DA72D-842A-6C08-A02F-3AFB3CFEDF99}"/>
              </a:ext>
            </a:extLst>
          </p:cNvPr>
          <p:cNvSpPr txBox="1"/>
          <p:nvPr/>
        </p:nvSpPr>
        <p:spPr>
          <a:xfrm>
            <a:off x="1271884" y="4723240"/>
            <a:ext cx="42306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Llegada de </a:t>
            </a:r>
            <a:r>
              <a:rPr lang="es-ES_tradnl" sz="2000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Fintechs</a:t>
            </a:r>
            <a:endParaRPr lang="es-ES_tradnl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475796B-B61E-3FB8-503A-9C9D3B916A1F}"/>
              </a:ext>
            </a:extLst>
          </p:cNvPr>
          <p:cNvSpPr txBox="1"/>
          <p:nvPr/>
        </p:nvSpPr>
        <p:spPr>
          <a:xfrm>
            <a:off x="420206" y="2332177"/>
            <a:ext cx="59976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600" dirty="0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84.1 Millones (72%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1D22CD6-0711-0422-2416-09CF630743CE}"/>
              </a:ext>
            </a:extLst>
          </p:cNvPr>
          <p:cNvSpPr txBox="1"/>
          <p:nvPr/>
        </p:nvSpPr>
        <p:spPr>
          <a:xfrm>
            <a:off x="388345" y="3234341"/>
            <a:ext cx="59976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600" dirty="0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96% de los usuarios con interne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30BD89-1754-5D28-D11B-B26DBD069DB3}"/>
              </a:ext>
            </a:extLst>
          </p:cNvPr>
          <p:cNvSpPr txBox="1"/>
          <p:nvPr/>
        </p:nvSpPr>
        <p:spPr>
          <a:xfrm>
            <a:off x="471333" y="4136505"/>
            <a:ext cx="59976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600" dirty="0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Hey Banco, OpenBank, Bineo, Billú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3D2B8F0-D050-5E90-E59A-1FAC60153173}"/>
              </a:ext>
            </a:extLst>
          </p:cNvPr>
          <p:cNvSpPr txBox="1"/>
          <p:nvPr/>
        </p:nvSpPr>
        <p:spPr>
          <a:xfrm>
            <a:off x="388345" y="5038670"/>
            <a:ext cx="59976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600" dirty="0" err="1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Frubana</a:t>
            </a:r>
            <a:r>
              <a:rPr lang="es-ES_tradnl" sz="1600" dirty="0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, </a:t>
            </a:r>
            <a:r>
              <a:rPr lang="es-ES_tradnl" sz="1600" dirty="0" err="1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Nowports</a:t>
            </a:r>
            <a:r>
              <a:rPr lang="es-ES_tradnl" sz="1600" dirty="0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, Fondeadora y </a:t>
            </a:r>
            <a:r>
              <a:rPr lang="es-ES_tradnl" sz="1600" dirty="0" err="1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Belvo</a:t>
            </a:r>
            <a:endParaRPr lang="es-ES_tradnl" sz="1600" dirty="0">
              <a:solidFill>
                <a:srgbClr val="EB59CE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369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49215F-352F-FA9C-DC66-F8F1DCB1B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49215F-352F-FA9C-DC66-F8F1DCB1B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DBFCEF20-7F02-2772-4AAE-405520FAD5D8}"/>
              </a:ext>
            </a:extLst>
          </p:cNvPr>
          <p:cNvSpPr/>
          <p:nvPr/>
        </p:nvSpPr>
        <p:spPr>
          <a:xfrm>
            <a:off x="0" y="6230112"/>
            <a:ext cx="12239987" cy="627889"/>
          </a:xfrm>
          <a:prstGeom prst="rect">
            <a:avLst/>
          </a:prstGeom>
          <a:solidFill>
            <a:srgbClr val="B9B8F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D9F63E9-90F1-C50B-B925-5AA073CD4863}"/>
              </a:ext>
            </a:extLst>
          </p:cNvPr>
          <p:cNvGrpSpPr/>
          <p:nvPr/>
        </p:nvGrpSpPr>
        <p:grpSpPr>
          <a:xfrm>
            <a:off x="8172646" y="3799462"/>
            <a:ext cx="2141255" cy="1072512"/>
            <a:chOff x="2416479" y="1848992"/>
            <a:chExt cx="2141255" cy="107251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73CA2FD-7D25-7668-5892-39879C22C88D}"/>
                </a:ext>
              </a:extLst>
            </p:cNvPr>
            <p:cNvSpPr/>
            <p:nvPr/>
          </p:nvSpPr>
          <p:spPr>
            <a:xfrm>
              <a:off x="2416479" y="1848992"/>
              <a:ext cx="118015" cy="1072512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srgbClr val="333333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71EFBB0-B256-E894-3695-1FB2C57CE021}"/>
                </a:ext>
              </a:extLst>
            </p:cNvPr>
            <p:cNvSpPr/>
            <p:nvPr/>
          </p:nvSpPr>
          <p:spPr>
            <a:xfrm>
              <a:off x="2529361" y="1848992"/>
              <a:ext cx="2028373" cy="1072511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9DF6E1D-1F50-FAA7-5D94-A476F7A36BB7}"/>
              </a:ext>
            </a:extLst>
          </p:cNvPr>
          <p:cNvGrpSpPr/>
          <p:nvPr/>
        </p:nvGrpSpPr>
        <p:grpSpPr>
          <a:xfrm>
            <a:off x="4657225" y="3803701"/>
            <a:ext cx="2141255" cy="1072512"/>
            <a:chOff x="2416479" y="1848992"/>
            <a:chExt cx="2141255" cy="107251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45F10E8-8D89-3F8E-4AF4-6198D9A4D715}"/>
                </a:ext>
              </a:extLst>
            </p:cNvPr>
            <p:cNvSpPr/>
            <p:nvPr/>
          </p:nvSpPr>
          <p:spPr>
            <a:xfrm>
              <a:off x="2416479" y="1848992"/>
              <a:ext cx="118015" cy="1072512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srgbClr val="333333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581B33E-DDD4-3B09-47FF-6898C9B4A09E}"/>
                </a:ext>
              </a:extLst>
            </p:cNvPr>
            <p:cNvSpPr/>
            <p:nvPr/>
          </p:nvSpPr>
          <p:spPr>
            <a:xfrm>
              <a:off x="2529361" y="1848992"/>
              <a:ext cx="2028373" cy="1072511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D3217A5-38AB-F7DE-C15F-FACD09560C7C}"/>
              </a:ext>
            </a:extLst>
          </p:cNvPr>
          <p:cNvGrpSpPr/>
          <p:nvPr/>
        </p:nvGrpSpPr>
        <p:grpSpPr>
          <a:xfrm>
            <a:off x="9264560" y="1865436"/>
            <a:ext cx="2141255" cy="1072512"/>
            <a:chOff x="2416479" y="1848992"/>
            <a:chExt cx="2141255" cy="1072512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A1F35DD-16E5-DDF5-6346-E6C67366AFA2}"/>
                </a:ext>
              </a:extLst>
            </p:cNvPr>
            <p:cNvSpPr/>
            <p:nvPr/>
          </p:nvSpPr>
          <p:spPr>
            <a:xfrm>
              <a:off x="2416479" y="1848992"/>
              <a:ext cx="118015" cy="1072512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srgbClr val="333333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C4CD9F3-F10F-F982-52EE-272CDD737716}"/>
                </a:ext>
              </a:extLst>
            </p:cNvPr>
            <p:cNvSpPr/>
            <p:nvPr/>
          </p:nvSpPr>
          <p:spPr>
            <a:xfrm>
              <a:off x="2529361" y="1848992"/>
              <a:ext cx="2028373" cy="1072511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F0E804F-945E-D3F2-E208-BD6C3726F2A6}"/>
              </a:ext>
            </a:extLst>
          </p:cNvPr>
          <p:cNvGrpSpPr/>
          <p:nvPr/>
        </p:nvGrpSpPr>
        <p:grpSpPr>
          <a:xfrm>
            <a:off x="5870772" y="1853190"/>
            <a:ext cx="2141255" cy="1072512"/>
            <a:chOff x="2416479" y="1848992"/>
            <a:chExt cx="2141255" cy="107251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B17B716-440C-3021-7D46-991F120A3D6B}"/>
                </a:ext>
              </a:extLst>
            </p:cNvPr>
            <p:cNvSpPr/>
            <p:nvPr/>
          </p:nvSpPr>
          <p:spPr>
            <a:xfrm>
              <a:off x="2416479" y="1848992"/>
              <a:ext cx="118015" cy="1072512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srgbClr val="333333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67B2DA0-823F-F024-C4DF-F930FF350FB6}"/>
                </a:ext>
              </a:extLst>
            </p:cNvPr>
            <p:cNvSpPr/>
            <p:nvPr/>
          </p:nvSpPr>
          <p:spPr>
            <a:xfrm>
              <a:off x="2529361" y="1848992"/>
              <a:ext cx="2028373" cy="1072511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  <p:pic>
        <p:nvPicPr>
          <p:cNvPr id="17" name="Picture 12" descr="Businessman With Headache Stock Photo - Download Image Now - Guilt,  Individuality, Serious - iStock">
            <a:extLst>
              <a:ext uri="{FF2B5EF4-FFF2-40B4-BE49-F238E27FC236}">
                <a16:creationId xmlns:a16="http://schemas.microsoft.com/office/drawing/2014/main" id="{D83460C7-F77A-07BF-FB3D-66984CA6E0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38" t="3235" r="16667"/>
          <a:stretch/>
        </p:blipFill>
        <p:spPr bwMode="auto">
          <a:xfrm>
            <a:off x="0" y="2412752"/>
            <a:ext cx="3031673" cy="444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485A9E7D-4FDB-1C31-05AC-3C699E5337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308" y="6441210"/>
            <a:ext cx="1363558" cy="28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2B14BF3-CF42-6EE6-E26C-921C02E7DECE}"/>
              </a:ext>
            </a:extLst>
          </p:cNvPr>
          <p:cNvSpPr txBox="1"/>
          <p:nvPr/>
        </p:nvSpPr>
        <p:spPr>
          <a:xfrm>
            <a:off x="346851" y="505559"/>
            <a:ext cx="89207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los </a:t>
            </a:r>
            <a:r>
              <a:rPr lang="es-ES_tradnl" sz="28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5 problemas financieros </a:t>
            </a:r>
            <a:r>
              <a: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del mexicano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1973EB6-3105-1A47-CCE5-39552F08C8C1}"/>
              </a:ext>
            </a:extLst>
          </p:cNvPr>
          <p:cNvSpPr txBox="1"/>
          <p:nvPr/>
        </p:nvSpPr>
        <p:spPr>
          <a:xfrm>
            <a:off x="1974844" y="1438629"/>
            <a:ext cx="365722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500" b="1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1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2812708-B75F-0A74-F3A8-2B2687753549}"/>
              </a:ext>
            </a:extLst>
          </p:cNvPr>
          <p:cNvGrpSpPr/>
          <p:nvPr/>
        </p:nvGrpSpPr>
        <p:grpSpPr>
          <a:xfrm>
            <a:off x="2416479" y="1848992"/>
            <a:ext cx="2141255" cy="1072512"/>
            <a:chOff x="2416479" y="1848992"/>
            <a:chExt cx="2141255" cy="1072512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CA8AC55-D449-F387-CFD3-348C7A7D74AB}"/>
                </a:ext>
              </a:extLst>
            </p:cNvPr>
            <p:cNvSpPr/>
            <p:nvPr/>
          </p:nvSpPr>
          <p:spPr>
            <a:xfrm>
              <a:off x="2416479" y="1848992"/>
              <a:ext cx="118015" cy="1072512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srgbClr val="333333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BAD4949-B0EF-74C5-40C8-E136D96C37AD}"/>
                </a:ext>
              </a:extLst>
            </p:cNvPr>
            <p:cNvSpPr/>
            <p:nvPr/>
          </p:nvSpPr>
          <p:spPr>
            <a:xfrm>
              <a:off x="2529361" y="1848992"/>
              <a:ext cx="2028373" cy="1072511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C812E045-6D2E-9D7F-55E3-700AD886EABC}"/>
              </a:ext>
            </a:extLst>
          </p:cNvPr>
          <p:cNvSpPr txBox="1"/>
          <p:nvPr/>
        </p:nvSpPr>
        <p:spPr>
          <a:xfrm>
            <a:off x="2839818" y="1998889"/>
            <a:ext cx="14053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9</a:t>
            </a:r>
            <a:r>
              <a:rPr lang="es-ES_tradnl" sz="2000" dirty="0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de</a:t>
            </a:r>
            <a:r>
              <a:rPr lang="es-ES_tradnl" sz="2000" dirty="0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1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E50FE79-2273-042C-EE5C-1CEF845708AC}"/>
              </a:ext>
            </a:extLst>
          </p:cNvPr>
          <p:cNvSpPr txBox="1"/>
          <p:nvPr/>
        </p:nvSpPr>
        <p:spPr>
          <a:xfrm>
            <a:off x="2535906" y="2369653"/>
            <a:ext cx="20218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2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no les sobra dinero </a:t>
            </a:r>
          </a:p>
          <a:p>
            <a:pPr algn="ctr"/>
            <a:r>
              <a:rPr lang="es-ES_tradnl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l final del m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2438FC0-83A2-2513-7212-80B20E3501D4}"/>
              </a:ext>
            </a:extLst>
          </p:cNvPr>
          <p:cNvSpPr txBox="1"/>
          <p:nvPr/>
        </p:nvSpPr>
        <p:spPr>
          <a:xfrm>
            <a:off x="5248842" y="1438629"/>
            <a:ext cx="365722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500" b="1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2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870E830-CDAE-C552-6680-B2CDE6D7828C}"/>
              </a:ext>
            </a:extLst>
          </p:cNvPr>
          <p:cNvSpPr/>
          <p:nvPr/>
        </p:nvSpPr>
        <p:spPr>
          <a:xfrm>
            <a:off x="5870772" y="1848993"/>
            <a:ext cx="118015" cy="1072512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solidFill>
                <a:srgbClr val="ED9D2F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6C7B71D-53DF-AB33-D56F-805A7C712D3E}"/>
              </a:ext>
            </a:extLst>
          </p:cNvPr>
          <p:cNvSpPr txBox="1"/>
          <p:nvPr/>
        </p:nvSpPr>
        <p:spPr>
          <a:xfrm>
            <a:off x="8642630" y="1452381"/>
            <a:ext cx="365722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500" b="1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8096BAA-F92E-AF5C-C0E1-92E14EB51469}"/>
              </a:ext>
            </a:extLst>
          </p:cNvPr>
          <p:cNvSpPr/>
          <p:nvPr/>
        </p:nvSpPr>
        <p:spPr>
          <a:xfrm>
            <a:off x="9264560" y="1862744"/>
            <a:ext cx="118015" cy="1072512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solidFill>
                <a:srgbClr val="ED9D2F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7160FC5-62B9-4106-95F4-3AA65AE43F5C}"/>
              </a:ext>
            </a:extLst>
          </p:cNvPr>
          <p:cNvSpPr txBox="1"/>
          <p:nvPr/>
        </p:nvSpPr>
        <p:spPr>
          <a:xfrm>
            <a:off x="3995068" y="3402609"/>
            <a:ext cx="365722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500" b="1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4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2123048-92FC-A51E-CF35-65A3E0FD9CEC}"/>
              </a:ext>
            </a:extLst>
          </p:cNvPr>
          <p:cNvSpPr/>
          <p:nvPr/>
        </p:nvSpPr>
        <p:spPr>
          <a:xfrm>
            <a:off x="4658327" y="3803702"/>
            <a:ext cx="118015" cy="1072512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solidFill>
                <a:srgbClr val="ED9D2F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2581D55-1EE0-3537-6D37-45812A05151E}"/>
              </a:ext>
            </a:extLst>
          </p:cNvPr>
          <p:cNvSpPr txBox="1"/>
          <p:nvPr/>
        </p:nvSpPr>
        <p:spPr>
          <a:xfrm>
            <a:off x="7535250" y="3387418"/>
            <a:ext cx="365722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500" b="1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5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48DBAAB-85B6-A841-E377-46E8DF883AAA}"/>
              </a:ext>
            </a:extLst>
          </p:cNvPr>
          <p:cNvSpPr txBox="1"/>
          <p:nvPr/>
        </p:nvSpPr>
        <p:spPr>
          <a:xfrm>
            <a:off x="6306222" y="1972227"/>
            <a:ext cx="14053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7</a:t>
            </a:r>
            <a:r>
              <a:rPr lang="es-ES_tradnl" sz="2000" dirty="0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de 1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013522D-B230-25D2-1819-5133A52968B3}"/>
              </a:ext>
            </a:extLst>
          </p:cNvPr>
          <p:cNvSpPr txBox="1"/>
          <p:nvPr/>
        </p:nvSpPr>
        <p:spPr>
          <a:xfrm>
            <a:off x="6170643" y="2341701"/>
            <a:ext cx="16595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2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les preocupa </a:t>
            </a:r>
            <a:r>
              <a:rPr lang="es-ES_tradnl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que su dinero sea suficiente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BD472DB-83AB-CA66-55B8-85B86AB46D36}"/>
              </a:ext>
            </a:extLst>
          </p:cNvPr>
          <p:cNvSpPr txBox="1"/>
          <p:nvPr/>
        </p:nvSpPr>
        <p:spPr>
          <a:xfrm>
            <a:off x="9530563" y="2276010"/>
            <a:ext cx="17433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ienten que el manejo </a:t>
            </a:r>
          </a:p>
          <a:p>
            <a:pPr algn="ctr"/>
            <a:r>
              <a:rPr lang="es-ES_tradnl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del dinero </a:t>
            </a:r>
            <a:r>
              <a:rPr lang="es-ES_tradnl" sz="12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controla </a:t>
            </a:r>
          </a:p>
          <a:p>
            <a:pPr algn="ctr"/>
            <a:r>
              <a:rPr lang="es-ES_tradnl" sz="12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u vida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1A7ADA9-8BE7-99D1-BD04-DE8E2874908D}"/>
              </a:ext>
            </a:extLst>
          </p:cNvPr>
          <p:cNvSpPr txBox="1"/>
          <p:nvPr/>
        </p:nvSpPr>
        <p:spPr>
          <a:xfrm>
            <a:off x="9686030" y="1968590"/>
            <a:ext cx="14053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7</a:t>
            </a:r>
            <a:r>
              <a:rPr lang="es-ES_tradnl" sz="2000" dirty="0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de 10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10A7AF6-45AA-7AF7-DC07-27B61A8CED5D}"/>
              </a:ext>
            </a:extLst>
          </p:cNvPr>
          <p:cNvSpPr txBox="1"/>
          <p:nvPr/>
        </p:nvSpPr>
        <p:spPr>
          <a:xfrm>
            <a:off x="5081040" y="3885841"/>
            <a:ext cx="14053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7</a:t>
            </a:r>
            <a:r>
              <a:rPr lang="es-ES_tradnl" sz="2000" dirty="0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de 10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D4A8461-38C1-A6A0-F06F-2BD6777BED26}"/>
              </a:ext>
            </a:extLst>
          </p:cNvPr>
          <p:cNvSpPr txBox="1"/>
          <p:nvPr/>
        </p:nvSpPr>
        <p:spPr>
          <a:xfrm>
            <a:off x="8599595" y="3884834"/>
            <a:ext cx="14053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7</a:t>
            </a:r>
            <a:r>
              <a:rPr lang="es-ES_tradnl" sz="2000" dirty="0">
                <a:solidFill>
                  <a:srgbClr val="EB59CE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de 10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A6B9276-A676-CD29-52CF-D14F96164B32}"/>
              </a:ext>
            </a:extLst>
          </p:cNvPr>
          <p:cNvSpPr txBox="1"/>
          <p:nvPr/>
        </p:nvSpPr>
        <p:spPr>
          <a:xfrm>
            <a:off x="4786965" y="4274202"/>
            <a:ext cx="20283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_tradnl" sz="12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no</a:t>
            </a:r>
            <a:r>
              <a:rPr lang="es-ES_tradnl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se sienten capaces de </a:t>
            </a:r>
            <a:r>
              <a:rPr lang="es-ES_tradnl" sz="12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ener lo que desean </a:t>
            </a:r>
            <a:endParaRPr lang="es-ES_tradnl" sz="1200" dirty="0">
              <a:solidFill>
                <a:srgbClr val="6BE27D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DD006CD-87EB-6131-F62F-D351CFF152E8}"/>
              </a:ext>
            </a:extLst>
          </p:cNvPr>
          <p:cNvSpPr txBox="1"/>
          <p:nvPr/>
        </p:nvSpPr>
        <p:spPr>
          <a:xfrm>
            <a:off x="8266818" y="4327405"/>
            <a:ext cx="204708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_tradnl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l dinero </a:t>
            </a:r>
            <a:r>
              <a:rPr lang="es-ES_tradnl" sz="12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no es suficiente</a:t>
            </a:r>
            <a:r>
              <a:rPr lang="es-ES_tradnl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</a:p>
          <a:p>
            <a:pPr algn="ctr"/>
            <a:r>
              <a:rPr lang="es-ES_tradnl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para cubrir sus gastos </a:t>
            </a:r>
            <a:endParaRPr lang="es-ES_tradnl" sz="1200" dirty="0"/>
          </a:p>
        </p:txBody>
      </p:sp>
    </p:spTree>
    <p:extLst>
      <p:ext uri="{BB962C8B-B14F-4D97-AF65-F5344CB8AC3E}">
        <p14:creationId xmlns:p14="http://schemas.microsoft.com/office/powerpoint/2010/main" val="41873334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49215F-352F-FA9C-DC66-F8F1DCB1B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49215F-352F-FA9C-DC66-F8F1DCB1B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DBFCEF20-7F02-2772-4AAE-405520FAD5D8}"/>
              </a:ext>
            </a:extLst>
          </p:cNvPr>
          <p:cNvSpPr/>
          <p:nvPr/>
        </p:nvSpPr>
        <p:spPr>
          <a:xfrm>
            <a:off x="1" y="0"/>
            <a:ext cx="6096000" cy="6858001"/>
          </a:xfrm>
          <a:prstGeom prst="rect">
            <a:avLst/>
          </a:prstGeom>
          <a:solidFill>
            <a:srgbClr val="6BE27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485A9E7D-4FDB-1C31-05AC-3C699E5337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308" y="6441210"/>
            <a:ext cx="1363558" cy="28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068CD27-5F0A-021C-FFFE-70169CD426C5}"/>
              </a:ext>
            </a:extLst>
          </p:cNvPr>
          <p:cNvSpPr txBox="1"/>
          <p:nvPr/>
        </p:nvSpPr>
        <p:spPr>
          <a:xfrm>
            <a:off x="202264" y="310848"/>
            <a:ext cx="49760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¿qué es </a:t>
            </a:r>
            <a:r>
              <a:rPr lang="es-ES_tradnl" sz="28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la salud financiera</a:t>
            </a:r>
            <a:r>
              <a: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E9DE2E-024B-3571-3687-D65A6E33F81D}"/>
              </a:ext>
            </a:extLst>
          </p:cNvPr>
          <p:cNvSpPr txBox="1"/>
          <p:nvPr/>
        </p:nvSpPr>
        <p:spPr>
          <a:xfrm>
            <a:off x="202264" y="1407675"/>
            <a:ext cx="56992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dirty="0">
                <a:solidFill>
                  <a:srgbClr val="0A0A0A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egún el Gobierno de México es “aquel estado que posibilita que las personas sean capaces de </a:t>
            </a:r>
            <a:r>
              <a:rPr lang="es-ES_tradnl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manejar sus finanzas</a:t>
            </a:r>
            <a:r>
              <a:rPr lang="es-ES_tradnl" dirty="0">
                <a:solidFill>
                  <a:srgbClr val="0A0A0A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de manera adecuada…”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EAA442-68E3-BEA9-3CDB-106126676ED0}"/>
              </a:ext>
            </a:extLst>
          </p:cNvPr>
          <p:cNvSpPr txBox="1"/>
          <p:nvPr/>
        </p:nvSpPr>
        <p:spPr>
          <a:xfrm>
            <a:off x="174369" y="3024551"/>
            <a:ext cx="58030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egún BBVA es “el bienestar que se alcanza mediante una </a:t>
            </a:r>
            <a:r>
              <a:rPr lang="es-ES_tradnl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buena gestión de la economía</a:t>
            </a:r>
            <a:r>
              <a:rPr lang="es-ES_tradnl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personal, familiar o empresarial…”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AD89A4F-35F6-1D03-BF91-9A549278D759}"/>
              </a:ext>
            </a:extLst>
          </p:cNvPr>
          <p:cNvSpPr txBox="1"/>
          <p:nvPr/>
        </p:nvSpPr>
        <p:spPr>
          <a:xfrm>
            <a:off x="27896" y="4641427"/>
            <a:ext cx="6096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egún el Economista es “contar con el </a:t>
            </a:r>
            <a:r>
              <a:rPr lang="es-ES_tradnl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dinero suficiente para cubrir gastos y tener ahorros</a:t>
            </a:r>
            <a:r>
              <a:rPr lang="es-ES_tradnl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que ayuden a afrontar imprevistos en el futuro”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0CB7090-55E1-48ED-56DD-A0E10BB8F644}"/>
              </a:ext>
            </a:extLst>
          </p:cNvPr>
          <p:cNvSpPr txBox="1"/>
          <p:nvPr/>
        </p:nvSpPr>
        <p:spPr>
          <a:xfrm>
            <a:off x="6722552" y="327291"/>
            <a:ext cx="5241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principios de </a:t>
            </a:r>
            <a:r>
              <a:rPr lang="es-ES_tradnl" sz="28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alud financiera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B1C49B6-592A-C3DB-415F-7907B4747148}"/>
              </a:ext>
            </a:extLst>
          </p:cNvPr>
          <p:cNvGrpSpPr/>
          <p:nvPr/>
        </p:nvGrpSpPr>
        <p:grpSpPr>
          <a:xfrm>
            <a:off x="7291199" y="1542519"/>
            <a:ext cx="4103888" cy="800656"/>
            <a:chOff x="7291199" y="1542519"/>
            <a:chExt cx="4103888" cy="800656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3C0ACC9-7A09-5BD0-4EFA-10C3D3CAE36C}"/>
                </a:ext>
              </a:extLst>
            </p:cNvPr>
            <p:cNvSpPr/>
            <p:nvPr/>
          </p:nvSpPr>
          <p:spPr>
            <a:xfrm>
              <a:off x="7291199" y="1542519"/>
              <a:ext cx="4103888" cy="800656"/>
            </a:xfrm>
            <a:prstGeom prst="rect">
              <a:avLst/>
            </a:prstGeom>
            <a:solidFill>
              <a:srgbClr val="BAF44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16EDFAA-22C3-4B02-EF31-534D0A5028E0}"/>
                </a:ext>
              </a:extLst>
            </p:cNvPr>
            <p:cNvSpPr txBox="1"/>
            <p:nvPr/>
          </p:nvSpPr>
          <p:spPr>
            <a:xfrm>
              <a:off x="8195481" y="1758181"/>
              <a:ext cx="229532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dirty="0">
                  <a:solidFill>
                    <a:srgbClr val="000000"/>
                  </a:solidFill>
                  <a:latin typeface="Arial" panose="020B0604020202020204" pitchFamily="34" charset="0"/>
                </a:rPr>
                <a:t>c</a:t>
              </a:r>
              <a:r>
                <a:rPr lang="es-ES_tradnl" sz="18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ontrol del día a día </a:t>
              </a:r>
              <a:endPara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4D1F2FE-BAF8-7952-E4B5-B2F930AA6191}"/>
              </a:ext>
            </a:extLst>
          </p:cNvPr>
          <p:cNvGrpSpPr/>
          <p:nvPr/>
        </p:nvGrpSpPr>
        <p:grpSpPr>
          <a:xfrm>
            <a:off x="7291199" y="2571432"/>
            <a:ext cx="4103888" cy="800656"/>
            <a:chOff x="7291199" y="2571432"/>
            <a:chExt cx="4103888" cy="80065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C236BA1-91F7-577D-1BB7-6BB82891C241}"/>
                </a:ext>
              </a:extLst>
            </p:cNvPr>
            <p:cNvSpPr/>
            <p:nvPr/>
          </p:nvSpPr>
          <p:spPr>
            <a:xfrm>
              <a:off x="7291199" y="2571432"/>
              <a:ext cx="4103888" cy="800656"/>
            </a:xfrm>
            <a:prstGeom prst="rect">
              <a:avLst/>
            </a:prstGeom>
            <a:solidFill>
              <a:srgbClr val="BAF44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E6FEBA4-A1C8-27CE-783E-8D6A0A244841}"/>
                </a:ext>
              </a:extLst>
            </p:cNvPr>
            <p:cNvSpPr txBox="1"/>
            <p:nvPr/>
          </p:nvSpPr>
          <p:spPr>
            <a:xfrm>
              <a:off x="8195481" y="2787094"/>
              <a:ext cx="229532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dirty="0">
                  <a:solidFill>
                    <a:srgbClr val="000000"/>
                  </a:solidFill>
                  <a:latin typeface="Arial" panose="020B0604020202020204" pitchFamily="34" charset="0"/>
                </a:rPr>
                <a:t>p</a:t>
              </a:r>
              <a:r>
                <a:rPr lang="es-ES_tradnl" sz="18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lanificación</a:t>
              </a:r>
              <a:endPara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03AB36D-9368-93D1-71AC-217C30EF5DFF}"/>
              </a:ext>
            </a:extLst>
          </p:cNvPr>
          <p:cNvGrpSpPr/>
          <p:nvPr/>
        </p:nvGrpSpPr>
        <p:grpSpPr>
          <a:xfrm>
            <a:off x="7291199" y="3600345"/>
            <a:ext cx="4103888" cy="800656"/>
            <a:chOff x="7291199" y="3600345"/>
            <a:chExt cx="4103888" cy="800656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E7B5181-878B-5679-F04D-3977BA247DF1}"/>
                </a:ext>
              </a:extLst>
            </p:cNvPr>
            <p:cNvSpPr/>
            <p:nvPr/>
          </p:nvSpPr>
          <p:spPr>
            <a:xfrm>
              <a:off x="7291199" y="3600345"/>
              <a:ext cx="4103888" cy="800656"/>
            </a:xfrm>
            <a:prstGeom prst="rect">
              <a:avLst/>
            </a:prstGeom>
            <a:solidFill>
              <a:srgbClr val="BAF44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9E7F3C6-653B-68ED-61AF-005EDB19C808}"/>
                </a:ext>
              </a:extLst>
            </p:cNvPr>
            <p:cNvSpPr txBox="1"/>
            <p:nvPr/>
          </p:nvSpPr>
          <p:spPr>
            <a:xfrm>
              <a:off x="8195481" y="3816007"/>
              <a:ext cx="229532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dirty="0">
                  <a:solidFill>
                    <a:srgbClr val="000000"/>
                  </a:solidFill>
                  <a:latin typeface="Arial" panose="020B0604020202020204" pitchFamily="34" charset="0"/>
                </a:rPr>
                <a:t>a</a:t>
              </a:r>
              <a:r>
                <a:rPr lang="es-ES_tradnl" sz="18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horro</a:t>
              </a:r>
              <a:endPara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B7495246-8575-B58B-2BCD-2EE047ADE7A6}"/>
              </a:ext>
            </a:extLst>
          </p:cNvPr>
          <p:cNvGrpSpPr/>
          <p:nvPr/>
        </p:nvGrpSpPr>
        <p:grpSpPr>
          <a:xfrm>
            <a:off x="7291199" y="4629257"/>
            <a:ext cx="4103888" cy="800656"/>
            <a:chOff x="7291199" y="4629257"/>
            <a:chExt cx="4103888" cy="800656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E3B7CF8-FF43-AACE-203B-DCA81C15414C}"/>
                </a:ext>
              </a:extLst>
            </p:cNvPr>
            <p:cNvSpPr/>
            <p:nvPr/>
          </p:nvSpPr>
          <p:spPr>
            <a:xfrm>
              <a:off x="7291199" y="4629257"/>
              <a:ext cx="4103888" cy="800656"/>
            </a:xfrm>
            <a:prstGeom prst="rect">
              <a:avLst/>
            </a:prstGeom>
            <a:solidFill>
              <a:srgbClr val="BAF44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AED8B005-560D-5143-D972-F270EE5015BD}"/>
                </a:ext>
              </a:extLst>
            </p:cNvPr>
            <p:cNvSpPr txBox="1"/>
            <p:nvPr/>
          </p:nvSpPr>
          <p:spPr>
            <a:xfrm>
              <a:off x="8195480" y="4844919"/>
              <a:ext cx="229532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dirty="0">
                  <a:solidFill>
                    <a:srgbClr val="000000"/>
                  </a:solidFill>
                  <a:latin typeface="Arial" panose="020B0604020202020204" pitchFamily="34" charset="0"/>
                </a:rPr>
                <a:t>c</a:t>
              </a:r>
              <a:r>
                <a:rPr lang="es-ES_tradnl" sz="18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ontrol de la deuda</a:t>
              </a:r>
              <a:endPara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</p:grpSp>
      <p:pic>
        <p:nvPicPr>
          <p:cNvPr id="15362" name="Picture 2" descr="Hombre pensante, hombre pensante, pensando png | PNGEgg">
            <a:extLst>
              <a:ext uri="{FF2B5EF4-FFF2-40B4-BE49-F238E27FC236}">
                <a16:creationId xmlns:a16="http://schemas.microsoft.com/office/drawing/2014/main" id="{063C84C5-A560-ECB1-8E86-BF758CE07A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824" b="96324" l="10000" r="90000">
                        <a14:foregroundMark x1="61222" y1="13971" x2="58556" y2="8824"/>
                        <a14:foregroundMark x1="54778" y1="75245" x2="55444" y2="85294"/>
                        <a14:foregroundMark x1="55444" y1="85294" x2="58000" y2="93137"/>
                        <a14:foregroundMark x1="58000" y1="93137" x2="45667" y2="99020"/>
                        <a14:foregroundMark x1="45667" y1="99020" x2="39333" y2="96324"/>
                        <a14:foregroundMark x1="39333" y1="96324" x2="38222" y2="8995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137" r="31633"/>
          <a:stretch/>
        </p:blipFill>
        <p:spPr bwMode="auto">
          <a:xfrm flipH="1">
            <a:off x="5977424" y="3478029"/>
            <a:ext cx="2823473" cy="3348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830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49215F-352F-FA9C-DC66-F8F1DCB1B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49215F-352F-FA9C-DC66-F8F1DCB1B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DBFCEF20-7F02-2772-4AAE-405520FAD5D8}"/>
              </a:ext>
            </a:extLst>
          </p:cNvPr>
          <p:cNvSpPr/>
          <p:nvPr/>
        </p:nvSpPr>
        <p:spPr>
          <a:xfrm>
            <a:off x="-2" y="0"/>
            <a:ext cx="12192000" cy="6858001"/>
          </a:xfrm>
          <a:prstGeom prst="rect">
            <a:avLst/>
          </a:prstGeom>
          <a:solidFill>
            <a:srgbClr val="3333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D6D568-763A-4995-B858-AD42BDAC4A73}"/>
              </a:ext>
            </a:extLst>
          </p:cNvPr>
          <p:cNvSpPr txBox="1"/>
          <p:nvPr/>
        </p:nvSpPr>
        <p:spPr>
          <a:xfrm>
            <a:off x="3377181" y="1509027"/>
            <a:ext cx="543763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5400" dirty="0">
                <a:solidFill>
                  <a:srgbClr val="EFF4F8"/>
                </a:solidFill>
                <a:latin typeface="Aharoni" panose="02010803020104030203" pitchFamily="2" charset="-79"/>
                <a:ea typeface="Malgun Gothic" panose="020B0503020000020004" pitchFamily="34" charset="-127"/>
                <a:cs typeface="Aharoni" panose="02010803020104030203" pitchFamily="2" charset="-79"/>
              </a:rPr>
              <a:t>REGLA DE </a:t>
            </a:r>
            <a:r>
              <a:rPr lang="es-ES_tradnl" sz="5400" dirty="0">
                <a:solidFill>
                  <a:srgbClr val="F6DE32"/>
                </a:solidFill>
                <a:latin typeface="Aharoni" panose="02010803020104030203" pitchFamily="2" charset="-79"/>
                <a:ea typeface="Malgun Gothic" panose="020B0503020000020004" pitchFamily="34" charset="-127"/>
                <a:cs typeface="Aharoni" panose="02010803020104030203" pitchFamily="2" charset="-79"/>
              </a:rPr>
              <a:t>OR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6FE4EF6-0099-AC77-633E-5C6071CE71DF}"/>
              </a:ext>
            </a:extLst>
          </p:cNvPr>
          <p:cNvSpPr txBox="1"/>
          <p:nvPr/>
        </p:nvSpPr>
        <p:spPr>
          <a:xfrm>
            <a:off x="1276249" y="3010360"/>
            <a:ext cx="2100932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500" b="1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5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9C95DD-ED6C-C566-0747-03BC4C2260EB}"/>
              </a:ext>
            </a:extLst>
          </p:cNvPr>
          <p:cNvSpPr txBox="1"/>
          <p:nvPr/>
        </p:nvSpPr>
        <p:spPr>
          <a:xfrm>
            <a:off x="5045533" y="3010360"/>
            <a:ext cx="2100932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500" b="1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3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D52790-9FAD-8428-2535-949004BFDCF9}"/>
              </a:ext>
            </a:extLst>
          </p:cNvPr>
          <p:cNvSpPr txBox="1"/>
          <p:nvPr/>
        </p:nvSpPr>
        <p:spPr>
          <a:xfrm>
            <a:off x="8618766" y="3010360"/>
            <a:ext cx="2100932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500" b="1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665643-35CB-CAAE-891D-6BFB4C756E98}"/>
              </a:ext>
            </a:extLst>
          </p:cNvPr>
          <p:cNvSpPr txBox="1"/>
          <p:nvPr/>
        </p:nvSpPr>
        <p:spPr>
          <a:xfrm>
            <a:off x="3913847" y="2915767"/>
            <a:ext cx="59502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500" b="1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|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FD6AF2D-5005-62DC-7ABE-204D693ADDC9}"/>
              </a:ext>
            </a:extLst>
          </p:cNvPr>
          <p:cNvSpPr txBox="1"/>
          <p:nvPr/>
        </p:nvSpPr>
        <p:spPr>
          <a:xfrm>
            <a:off x="7585105" y="2915767"/>
            <a:ext cx="59502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500" b="1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|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7B56C4-45B4-BE0C-840D-970BB074E6E3}"/>
              </a:ext>
            </a:extLst>
          </p:cNvPr>
          <p:cNvSpPr txBox="1"/>
          <p:nvPr/>
        </p:nvSpPr>
        <p:spPr>
          <a:xfrm>
            <a:off x="1454370" y="4783933"/>
            <a:ext cx="18427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esencia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31BC4FD-734B-DD21-201D-FC218A129833}"/>
              </a:ext>
            </a:extLst>
          </p:cNvPr>
          <p:cNvSpPr txBox="1"/>
          <p:nvPr/>
        </p:nvSpPr>
        <p:spPr>
          <a:xfrm>
            <a:off x="4882364" y="4825753"/>
            <a:ext cx="24272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no esencia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C24F9E-8E16-A481-A74E-AE71B6635476}"/>
              </a:ext>
            </a:extLst>
          </p:cNvPr>
          <p:cNvSpPr txBox="1"/>
          <p:nvPr/>
        </p:nvSpPr>
        <p:spPr>
          <a:xfrm>
            <a:off x="8459875" y="4783933"/>
            <a:ext cx="24272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inversión</a:t>
            </a:r>
          </a:p>
        </p:txBody>
      </p:sp>
    </p:spTree>
    <p:extLst>
      <p:ext uri="{BB962C8B-B14F-4D97-AF65-F5344CB8AC3E}">
        <p14:creationId xmlns:p14="http://schemas.microsoft.com/office/powerpoint/2010/main" val="3140460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49215F-352F-FA9C-DC66-F8F1DCB1B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49215F-352F-FA9C-DC66-F8F1DCB1B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DBFCEF20-7F02-2772-4AAE-405520FAD5D8}"/>
              </a:ext>
            </a:extLst>
          </p:cNvPr>
          <p:cNvSpPr/>
          <p:nvPr/>
        </p:nvSpPr>
        <p:spPr>
          <a:xfrm>
            <a:off x="9070428" y="0"/>
            <a:ext cx="3121569" cy="6858001"/>
          </a:xfrm>
          <a:prstGeom prst="rect">
            <a:avLst/>
          </a:prstGeom>
          <a:solidFill>
            <a:srgbClr val="F6DE3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2D8744-0185-764B-7983-F88E1588286C}"/>
              </a:ext>
            </a:extLst>
          </p:cNvPr>
          <p:cNvSpPr txBox="1"/>
          <p:nvPr/>
        </p:nvSpPr>
        <p:spPr>
          <a:xfrm>
            <a:off x="202263" y="310848"/>
            <a:ext cx="86894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¿qué </a:t>
            </a:r>
            <a:r>
              <a:rPr lang="es-ES_tradnl" sz="2800" dirty="0">
                <a:solidFill>
                  <a:srgbClr val="79EBFC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información tenemos</a:t>
            </a:r>
            <a:r>
              <a: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 de nuestros clientes?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44524E5-833F-389B-A029-8B2839385E96}"/>
              </a:ext>
            </a:extLst>
          </p:cNvPr>
          <p:cNvGrpSpPr/>
          <p:nvPr/>
        </p:nvGrpSpPr>
        <p:grpSpPr>
          <a:xfrm>
            <a:off x="1284115" y="1462924"/>
            <a:ext cx="2100932" cy="996344"/>
            <a:chOff x="1157991" y="1483945"/>
            <a:chExt cx="2100932" cy="99634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40607F5C-4D46-1BDF-34EF-A36B51DA6B7C}"/>
                </a:ext>
              </a:extLst>
            </p:cNvPr>
            <p:cNvSpPr txBox="1"/>
            <p:nvPr/>
          </p:nvSpPr>
          <p:spPr>
            <a:xfrm>
              <a:off x="1157991" y="1483945"/>
              <a:ext cx="210093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4000" b="1" dirty="0">
                  <a:solidFill>
                    <a:srgbClr val="0A0A0A"/>
                  </a:solidFill>
                  <a:latin typeface="Malgun Gothic" panose="020B0503020000020004" pitchFamily="34" charset="-127"/>
                  <a:ea typeface="Malgun Gothic" panose="020B0503020000020004" pitchFamily="34" charset="-127"/>
                </a:rPr>
                <a:t>350,000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2F4D798-7530-A6FE-4669-A491A06CC4CE}"/>
                </a:ext>
              </a:extLst>
            </p:cNvPr>
            <p:cNvSpPr txBox="1"/>
            <p:nvPr/>
          </p:nvSpPr>
          <p:spPr>
            <a:xfrm>
              <a:off x="1295340" y="2110957"/>
              <a:ext cx="18262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dirty="0">
                  <a:latin typeface="Malgun Gothic" panose="020B0503020000020004" pitchFamily="34" charset="-127"/>
                  <a:ea typeface="Malgun Gothic" panose="020B0503020000020004" pitchFamily="34" charset="-127"/>
                </a:rPr>
                <a:t>transacciones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E1C3BFC0-5DE9-A6B8-8E31-B868C933F03A}"/>
              </a:ext>
            </a:extLst>
          </p:cNvPr>
          <p:cNvSpPr txBox="1"/>
          <p:nvPr/>
        </p:nvSpPr>
        <p:spPr>
          <a:xfrm>
            <a:off x="5240333" y="1462924"/>
            <a:ext cx="21009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4000" b="1" dirty="0">
                <a:solidFill>
                  <a:srgbClr val="0A0A0A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10,00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97D2EC-6DBB-CDDF-589A-692DC71759DE}"/>
              </a:ext>
            </a:extLst>
          </p:cNvPr>
          <p:cNvSpPr txBox="1"/>
          <p:nvPr/>
        </p:nvSpPr>
        <p:spPr>
          <a:xfrm>
            <a:off x="5377682" y="2089936"/>
            <a:ext cx="1826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clientes</a:t>
            </a:r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BEEE6568-E4B0-BED2-382A-4A2DF4FB42F0}"/>
              </a:ext>
            </a:extLst>
          </p:cNvPr>
          <p:cNvSpPr/>
          <p:nvPr/>
        </p:nvSpPr>
        <p:spPr>
          <a:xfrm>
            <a:off x="3761823" y="1699487"/>
            <a:ext cx="1208689" cy="523219"/>
          </a:xfrm>
          <a:prstGeom prst="rightArrow">
            <a:avLst>
              <a:gd name="adj1" fmla="val 41965"/>
              <a:gd name="adj2" fmla="val 98211"/>
            </a:avLst>
          </a:prstGeom>
          <a:solidFill>
            <a:srgbClr val="F6DE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6FC4BAD5-C5E1-95CE-AAD9-FEA0DAD3CE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308" y="6441210"/>
            <a:ext cx="1363558" cy="28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EC2DE5D-2F60-F7CF-9CAD-06E9D5F7571A}"/>
              </a:ext>
            </a:extLst>
          </p:cNvPr>
          <p:cNvSpPr txBox="1"/>
          <p:nvPr/>
        </p:nvSpPr>
        <p:spPr>
          <a:xfrm>
            <a:off x="821659" y="3502460"/>
            <a:ext cx="30258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solidFill>
                  <a:srgbClr val="0A0A0A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datos de la </a:t>
            </a:r>
            <a:r>
              <a:rPr lang="es-ES_tradnl" sz="2000" dirty="0">
                <a:solidFill>
                  <a:srgbClr val="79EBFC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ermina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AB26616-327E-DE96-1666-41BFE35F1978}"/>
              </a:ext>
            </a:extLst>
          </p:cNvPr>
          <p:cNvSpPr txBox="1"/>
          <p:nvPr/>
        </p:nvSpPr>
        <p:spPr>
          <a:xfrm>
            <a:off x="5174074" y="3502460"/>
            <a:ext cx="22334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solidFill>
                  <a:srgbClr val="0A0A0A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datos del </a:t>
            </a:r>
            <a:r>
              <a:rPr lang="es-ES_tradnl" sz="2000" dirty="0">
                <a:solidFill>
                  <a:srgbClr val="79EBFC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client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4BCAB97-EFC6-57A7-7378-A2644EA40A03}"/>
              </a:ext>
            </a:extLst>
          </p:cNvPr>
          <p:cNvCxnSpPr>
            <a:cxnSpLocks/>
          </p:cNvCxnSpPr>
          <p:nvPr/>
        </p:nvCxnSpPr>
        <p:spPr>
          <a:xfrm>
            <a:off x="0" y="2849718"/>
            <a:ext cx="9070428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B1F8F81B-A413-6CBA-CCE0-B7D5EC0455D6}"/>
              </a:ext>
            </a:extLst>
          </p:cNvPr>
          <p:cNvSpPr txBox="1"/>
          <p:nvPr/>
        </p:nvSpPr>
        <p:spPr>
          <a:xfrm>
            <a:off x="821659" y="3866366"/>
            <a:ext cx="302584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mont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fech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paí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tipo de compr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TDD / TD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nombre del comerci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1600" dirty="0">
                <a:solidFill>
                  <a:srgbClr val="FFC000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giro del comerci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merchant category co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_tradnl" sz="16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F4EE5D-1985-57FE-0446-9B4F99148AFE}"/>
              </a:ext>
            </a:extLst>
          </p:cNvPr>
          <p:cNvSpPr txBox="1"/>
          <p:nvPr/>
        </p:nvSpPr>
        <p:spPr>
          <a:xfrm>
            <a:off x="5240333" y="3859696"/>
            <a:ext cx="302584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ex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stad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da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i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_tradnl" sz="16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_tradnl" sz="16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478875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49215F-352F-FA9C-DC66-F8F1DCB1B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49215F-352F-FA9C-DC66-F8F1DCB1B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DBFCEF20-7F02-2772-4AAE-405520FAD5D8}"/>
              </a:ext>
            </a:extLst>
          </p:cNvPr>
          <p:cNvSpPr/>
          <p:nvPr/>
        </p:nvSpPr>
        <p:spPr>
          <a:xfrm>
            <a:off x="6096000" y="0"/>
            <a:ext cx="6095998" cy="6858001"/>
          </a:xfrm>
          <a:prstGeom prst="rect">
            <a:avLst/>
          </a:prstGeom>
          <a:solidFill>
            <a:srgbClr val="ED9D2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6FC4BAD5-C5E1-95CE-AAD9-FEA0DAD3CE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308" y="6441210"/>
            <a:ext cx="1363558" cy="28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98F311D-62FB-395E-8705-D87E3F824B83}"/>
              </a:ext>
            </a:extLst>
          </p:cNvPr>
          <p:cNvSpPr txBox="1"/>
          <p:nvPr/>
        </p:nvSpPr>
        <p:spPr>
          <a:xfrm>
            <a:off x="222738" y="364568"/>
            <a:ext cx="86894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egún el giro del negocio la </a:t>
            </a:r>
            <a:r>
              <a:rPr lang="es-ES_tradnl" sz="2200" dirty="0">
                <a:solidFill>
                  <a:srgbClr val="ED9D2F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ransacción es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18862E-37E8-7E15-F1B6-7ABB31911682}"/>
              </a:ext>
            </a:extLst>
          </p:cNvPr>
          <p:cNvSpPr txBox="1"/>
          <p:nvPr/>
        </p:nvSpPr>
        <p:spPr>
          <a:xfrm>
            <a:off x="1987264" y="1390856"/>
            <a:ext cx="18961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senc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880BAB-A62B-0D9E-946C-C3B77B342740}"/>
              </a:ext>
            </a:extLst>
          </p:cNvPr>
          <p:cNvSpPr txBox="1"/>
          <p:nvPr/>
        </p:nvSpPr>
        <p:spPr>
          <a:xfrm>
            <a:off x="7885302" y="1390856"/>
            <a:ext cx="25173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no esenc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0B684A-5153-35E2-61D5-3D9EE1A0EC57}"/>
              </a:ext>
            </a:extLst>
          </p:cNvPr>
          <p:cNvSpPr txBox="1"/>
          <p:nvPr/>
        </p:nvSpPr>
        <p:spPr>
          <a:xfrm>
            <a:off x="1651157" y="2588406"/>
            <a:ext cx="371228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upermercad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ducación básic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gobiern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colegios y universidad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segurador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hospita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05441E-1226-CA52-AB3B-17AB19E8E69E}"/>
              </a:ext>
            </a:extLst>
          </p:cNvPr>
          <p:cNvSpPr txBox="1"/>
          <p:nvPr/>
        </p:nvSpPr>
        <p:spPr>
          <a:xfrm>
            <a:off x="7694529" y="2588406"/>
            <a:ext cx="371228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restauran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hote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gencias de viaj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alones de bellez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renta de aut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ntretenimiento</a:t>
            </a:r>
          </a:p>
        </p:txBody>
      </p:sp>
      <p:pic>
        <p:nvPicPr>
          <p:cNvPr id="23558" name="Picture 6" descr="Surprised Woman png images | PNGWing">
            <a:extLst>
              <a:ext uri="{FF2B5EF4-FFF2-40B4-BE49-F238E27FC236}">
                <a16:creationId xmlns:a16="http://schemas.microsoft.com/office/drawing/2014/main" id="{3C4D96FB-F5DE-413B-8B2A-A5D5AD66FD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143" t="12488" r="36466" b="13486"/>
          <a:stretch/>
        </p:blipFill>
        <p:spPr bwMode="auto">
          <a:xfrm>
            <a:off x="0" y="3011654"/>
            <a:ext cx="4168189" cy="3856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50524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49215F-352F-FA9C-DC66-F8F1DCB1B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41568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49215F-352F-FA9C-DC66-F8F1DCB1B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DBFCEF20-7F02-2772-4AAE-405520FAD5D8}"/>
              </a:ext>
            </a:extLst>
          </p:cNvPr>
          <p:cNvSpPr/>
          <p:nvPr/>
        </p:nvSpPr>
        <p:spPr>
          <a:xfrm>
            <a:off x="-1" y="-78044"/>
            <a:ext cx="12191997" cy="850604"/>
          </a:xfrm>
          <a:prstGeom prst="rect">
            <a:avLst/>
          </a:prstGeom>
          <a:solidFill>
            <a:srgbClr val="3333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srgbClr val="ED9D2F"/>
              </a:solidFill>
            </a:endParaRPr>
          </a:p>
        </p:txBody>
      </p:sp>
      <p:graphicFrame>
        <p:nvGraphicFramePr>
          <p:cNvPr id="21544" name="Chart 21543">
            <a:extLst>
              <a:ext uri="{FF2B5EF4-FFF2-40B4-BE49-F238E27FC236}">
                <a16:creationId xmlns:a16="http://schemas.microsoft.com/office/drawing/2014/main" id="{4D43DE98-2327-4C69-11D5-791E78319F8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092095"/>
              </p:ext>
            </p:extLst>
          </p:nvPr>
        </p:nvGraphicFramePr>
        <p:xfrm>
          <a:off x="2297113" y="1377950"/>
          <a:ext cx="4389437" cy="4389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21" name="Picture 2">
            <a:extLst>
              <a:ext uri="{FF2B5EF4-FFF2-40B4-BE49-F238E27FC236}">
                <a16:creationId xmlns:a16="http://schemas.microsoft.com/office/drawing/2014/main" id="{6FC4BAD5-C5E1-95CE-AAD9-FEA0DAD3CE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308" y="6441210"/>
            <a:ext cx="1363558" cy="28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7A90817-04FF-266F-31EC-92E995B09733}"/>
              </a:ext>
            </a:extLst>
          </p:cNvPr>
          <p:cNvSpPr txBox="1"/>
          <p:nvPr/>
        </p:nvSpPr>
        <p:spPr>
          <a:xfrm>
            <a:off x="335479" y="129043"/>
            <a:ext cx="101399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solidFill>
                  <a:schemeClr val="bg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durante un periodo de 3 meses la </a:t>
            </a:r>
            <a:r>
              <a:rPr lang="es-ES_tradnl" sz="2800" b="1" dirty="0">
                <a:solidFill>
                  <a:srgbClr val="F6DE32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endencia</a:t>
            </a:r>
            <a:r>
              <a:rPr lang="es-ES_tradnl" sz="2800" dirty="0">
                <a:solidFill>
                  <a:schemeClr val="bg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fue…</a:t>
            </a:r>
          </a:p>
        </p:txBody>
      </p:sp>
      <p:pic>
        <p:nvPicPr>
          <p:cNvPr id="21506" name="Picture 2" descr="PNG Image Doctor, Female Doctor Free Images Download - Free Transparent PNG  Logos">
            <a:extLst>
              <a:ext uri="{FF2B5EF4-FFF2-40B4-BE49-F238E27FC236}">
                <a16:creationId xmlns:a16="http://schemas.microsoft.com/office/drawing/2014/main" id="{6E83BCD3-E662-E9DF-D9F7-708ACD4C32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3321269"/>
            <a:ext cx="3165865" cy="3536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E9D24A74-7919-582F-5E61-6E984DC62F31}"/>
              </a:ext>
            </a:extLst>
          </p:cNvPr>
          <p:cNvSpPr txBox="1"/>
          <p:nvPr/>
        </p:nvSpPr>
        <p:spPr>
          <a:xfrm>
            <a:off x="3441700" y="3136900"/>
            <a:ext cx="2100263" cy="708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4000" b="1" dirty="0">
                <a:solidFill>
                  <a:srgbClr val="0A0A0A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10,000</a:t>
            </a:r>
          </a:p>
        </p:txBody>
      </p:sp>
      <p:sp>
        <p:nvSpPr>
          <p:cNvPr id="21510" name="TextBox 21509">
            <a:extLst>
              <a:ext uri="{FF2B5EF4-FFF2-40B4-BE49-F238E27FC236}">
                <a16:creationId xmlns:a16="http://schemas.microsoft.com/office/drawing/2014/main" id="{0E1DDC6C-7700-4EBE-9FD9-E1B4AF08BC3A}"/>
              </a:ext>
            </a:extLst>
          </p:cNvPr>
          <p:cNvSpPr txBox="1"/>
          <p:nvPr/>
        </p:nvSpPr>
        <p:spPr>
          <a:xfrm>
            <a:off x="3578225" y="3708400"/>
            <a:ext cx="1827213" cy="369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clientes</a:t>
            </a:r>
          </a:p>
        </p:txBody>
      </p:sp>
      <p:sp>
        <p:nvSpPr>
          <p:cNvPr id="21511" name="TextBox 21510">
            <a:extLst>
              <a:ext uri="{FF2B5EF4-FFF2-40B4-BE49-F238E27FC236}">
                <a16:creationId xmlns:a16="http://schemas.microsoft.com/office/drawing/2014/main" id="{44A8FC86-69AB-5524-1A72-3C1045AB3641}"/>
              </a:ext>
            </a:extLst>
          </p:cNvPr>
          <p:cNvSpPr txBox="1"/>
          <p:nvPr/>
        </p:nvSpPr>
        <p:spPr>
          <a:xfrm>
            <a:off x="5541963" y="3738482"/>
            <a:ext cx="892175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400" b="1" dirty="0">
                <a:solidFill>
                  <a:srgbClr val="0A0A0A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63%</a:t>
            </a:r>
          </a:p>
        </p:txBody>
      </p:sp>
      <p:sp>
        <p:nvSpPr>
          <p:cNvPr id="21512" name="TextBox 21511">
            <a:extLst>
              <a:ext uri="{FF2B5EF4-FFF2-40B4-BE49-F238E27FC236}">
                <a16:creationId xmlns:a16="http://schemas.microsoft.com/office/drawing/2014/main" id="{24899935-6D01-84E6-BD14-AAE3F5583DF6}"/>
              </a:ext>
            </a:extLst>
          </p:cNvPr>
          <p:cNvSpPr txBox="1"/>
          <p:nvPr/>
        </p:nvSpPr>
        <p:spPr>
          <a:xfrm>
            <a:off x="2550158" y="3662362"/>
            <a:ext cx="892175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400" b="1" dirty="0">
                <a:solidFill>
                  <a:srgbClr val="0A0A0A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18%</a:t>
            </a:r>
          </a:p>
        </p:txBody>
      </p:sp>
      <p:sp>
        <p:nvSpPr>
          <p:cNvPr id="21513" name="TextBox 21512">
            <a:extLst>
              <a:ext uri="{FF2B5EF4-FFF2-40B4-BE49-F238E27FC236}">
                <a16:creationId xmlns:a16="http://schemas.microsoft.com/office/drawing/2014/main" id="{C1C4B036-4C7C-1A02-AE88-B1F9F7D522E0}"/>
              </a:ext>
            </a:extLst>
          </p:cNvPr>
          <p:cNvSpPr txBox="1"/>
          <p:nvPr/>
        </p:nvSpPr>
        <p:spPr>
          <a:xfrm>
            <a:off x="3101623" y="2128448"/>
            <a:ext cx="892175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400" b="1" dirty="0">
                <a:solidFill>
                  <a:srgbClr val="0A0A0A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19%</a:t>
            </a:r>
          </a:p>
        </p:txBody>
      </p:sp>
      <p:sp>
        <p:nvSpPr>
          <p:cNvPr id="21517" name="TextBox 21516">
            <a:extLst>
              <a:ext uri="{FF2B5EF4-FFF2-40B4-BE49-F238E27FC236}">
                <a16:creationId xmlns:a16="http://schemas.microsoft.com/office/drawing/2014/main" id="{EE969250-1182-8E2B-ABEF-0E1F3A884483}"/>
              </a:ext>
            </a:extLst>
          </p:cNvPr>
          <p:cNvSpPr txBox="1"/>
          <p:nvPr/>
        </p:nvSpPr>
        <p:spPr>
          <a:xfrm>
            <a:off x="6927217" y="2461660"/>
            <a:ext cx="13385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_tradnl" sz="3200" b="1" dirty="0">
                <a:solidFill>
                  <a:srgbClr val="0A0A0A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63%</a:t>
            </a:r>
          </a:p>
        </p:txBody>
      </p:sp>
      <p:sp>
        <p:nvSpPr>
          <p:cNvPr id="21518" name="TextBox 21517">
            <a:extLst>
              <a:ext uri="{FF2B5EF4-FFF2-40B4-BE49-F238E27FC236}">
                <a16:creationId xmlns:a16="http://schemas.microsoft.com/office/drawing/2014/main" id="{11F0BBCC-E713-8FA3-8D0C-66ADD26D0C46}"/>
              </a:ext>
            </a:extLst>
          </p:cNvPr>
          <p:cNvSpPr txBox="1"/>
          <p:nvPr/>
        </p:nvSpPr>
        <p:spPr>
          <a:xfrm>
            <a:off x="8144515" y="2629688"/>
            <a:ext cx="3500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b="1" dirty="0">
                <a:solidFill>
                  <a:srgbClr val="ED495F"/>
                </a:solidFill>
                <a:latin typeface="Arial" panose="020B0604020202020204" pitchFamily="34" charset="0"/>
              </a:rPr>
              <a:t>no cuentan </a:t>
            </a:r>
            <a:r>
              <a:rPr lang="es-ES_tradnl" dirty="0">
                <a:solidFill>
                  <a:srgbClr val="000000"/>
                </a:solidFill>
                <a:latin typeface="Arial" panose="020B0604020202020204" pitchFamily="34" charset="0"/>
              </a:rPr>
              <a:t>con salud financiera</a:t>
            </a:r>
            <a:endParaRPr lang="es-ES_tradnl" sz="28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1519" name="TextBox 21518">
            <a:extLst>
              <a:ext uri="{FF2B5EF4-FFF2-40B4-BE49-F238E27FC236}">
                <a16:creationId xmlns:a16="http://schemas.microsoft.com/office/drawing/2014/main" id="{8AE9106D-9B81-754A-0E2B-9EDDD026A714}"/>
              </a:ext>
            </a:extLst>
          </p:cNvPr>
          <p:cNvSpPr txBox="1"/>
          <p:nvPr/>
        </p:nvSpPr>
        <p:spPr>
          <a:xfrm>
            <a:off x="6927217" y="3215562"/>
            <a:ext cx="13385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_tradnl" sz="3200" b="1" dirty="0">
                <a:solidFill>
                  <a:srgbClr val="0A0A0A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18%</a:t>
            </a:r>
          </a:p>
        </p:txBody>
      </p:sp>
      <p:sp>
        <p:nvSpPr>
          <p:cNvPr id="21520" name="TextBox 21519">
            <a:extLst>
              <a:ext uri="{FF2B5EF4-FFF2-40B4-BE49-F238E27FC236}">
                <a16:creationId xmlns:a16="http://schemas.microsoft.com/office/drawing/2014/main" id="{6DCF6FF8-BCA8-E241-197B-A5DDD070DB5C}"/>
              </a:ext>
            </a:extLst>
          </p:cNvPr>
          <p:cNvSpPr txBox="1"/>
          <p:nvPr/>
        </p:nvSpPr>
        <p:spPr>
          <a:xfrm>
            <a:off x="8144515" y="3325631"/>
            <a:ext cx="325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b="1" dirty="0">
                <a:solidFill>
                  <a:srgbClr val="64D267"/>
                </a:solidFill>
                <a:latin typeface="Arial" panose="020B0604020202020204" pitchFamily="34" charset="0"/>
              </a:rPr>
              <a:t>cuentan</a:t>
            </a:r>
            <a:r>
              <a:rPr lang="es-ES_tradnl" dirty="0">
                <a:solidFill>
                  <a:srgbClr val="000000"/>
                </a:solidFill>
                <a:latin typeface="Arial" panose="020B0604020202020204" pitchFamily="34" charset="0"/>
              </a:rPr>
              <a:t> con salud financiera</a:t>
            </a:r>
            <a:endParaRPr lang="es-ES_tradnl" sz="28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1521" name="TextBox 21520">
            <a:extLst>
              <a:ext uri="{FF2B5EF4-FFF2-40B4-BE49-F238E27FC236}">
                <a16:creationId xmlns:a16="http://schemas.microsoft.com/office/drawing/2014/main" id="{9C4233BC-C832-B161-2CBE-8647E6A0489C}"/>
              </a:ext>
            </a:extLst>
          </p:cNvPr>
          <p:cNvSpPr txBox="1"/>
          <p:nvPr/>
        </p:nvSpPr>
        <p:spPr>
          <a:xfrm>
            <a:off x="6927217" y="3969464"/>
            <a:ext cx="13385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_tradnl" sz="3200" b="1" dirty="0">
                <a:solidFill>
                  <a:srgbClr val="0A0A0A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19%</a:t>
            </a:r>
          </a:p>
        </p:txBody>
      </p:sp>
      <p:sp>
        <p:nvSpPr>
          <p:cNvPr id="21522" name="TextBox 21521">
            <a:extLst>
              <a:ext uri="{FF2B5EF4-FFF2-40B4-BE49-F238E27FC236}">
                <a16:creationId xmlns:a16="http://schemas.microsoft.com/office/drawing/2014/main" id="{75805830-39BB-13C9-1EBE-30093473E3EF}"/>
              </a:ext>
            </a:extLst>
          </p:cNvPr>
          <p:cNvSpPr txBox="1"/>
          <p:nvPr/>
        </p:nvSpPr>
        <p:spPr>
          <a:xfrm>
            <a:off x="8144515" y="4078288"/>
            <a:ext cx="30275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b="1" dirty="0">
                <a:solidFill>
                  <a:srgbClr val="EEC132"/>
                </a:solidFill>
                <a:latin typeface="Arial" panose="020B0604020202020204" pitchFamily="34" charset="0"/>
              </a:rPr>
              <a:t>no realizaron</a:t>
            </a:r>
            <a:r>
              <a:rPr lang="es-ES_tradnl" dirty="0">
                <a:solidFill>
                  <a:srgbClr val="EEC132"/>
                </a:solidFill>
                <a:latin typeface="Arial" panose="020B0604020202020204" pitchFamily="34" charset="0"/>
              </a:rPr>
              <a:t> </a:t>
            </a:r>
            <a:r>
              <a:rPr lang="es-ES_tradnl" dirty="0">
                <a:solidFill>
                  <a:srgbClr val="000000"/>
                </a:solidFill>
                <a:latin typeface="Arial" panose="020B0604020202020204" pitchFamily="34" charset="0"/>
              </a:rPr>
              <a:t>gastos</a:t>
            </a:r>
            <a:endParaRPr lang="es-ES_tradnl" sz="28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709032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49215F-352F-FA9C-DC66-F8F1DCB1B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3738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49215F-352F-FA9C-DC66-F8F1DCB1B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37" name="Rectangle 21536">
            <a:extLst>
              <a:ext uri="{FF2B5EF4-FFF2-40B4-BE49-F238E27FC236}">
                <a16:creationId xmlns:a16="http://schemas.microsoft.com/office/drawing/2014/main" id="{2E81C6B8-06FA-DDA0-D311-8AF354E4DFE5}"/>
              </a:ext>
            </a:extLst>
          </p:cNvPr>
          <p:cNvSpPr/>
          <p:nvPr/>
        </p:nvSpPr>
        <p:spPr>
          <a:xfrm>
            <a:off x="-1840" y="707095"/>
            <a:ext cx="12191997" cy="280040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srgbClr val="333333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9B249B5-539E-8B9E-9D73-27B30346345F}"/>
              </a:ext>
            </a:extLst>
          </p:cNvPr>
          <p:cNvSpPr/>
          <p:nvPr/>
        </p:nvSpPr>
        <p:spPr>
          <a:xfrm>
            <a:off x="3" y="988756"/>
            <a:ext cx="12191997" cy="838800"/>
          </a:xfrm>
          <a:prstGeom prst="rect">
            <a:avLst/>
          </a:prstGeom>
          <a:solidFill>
            <a:srgbClr val="B9B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srgbClr val="ED9D2F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A7F55A5-B472-25C8-58F9-728AAD5744C3}"/>
              </a:ext>
            </a:extLst>
          </p:cNvPr>
          <p:cNvSpPr/>
          <p:nvPr/>
        </p:nvSpPr>
        <p:spPr>
          <a:xfrm>
            <a:off x="3" y="1827556"/>
            <a:ext cx="12191997" cy="838800"/>
          </a:xfrm>
          <a:prstGeom prst="rect">
            <a:avLst/>
          </a:prstGeom>
          <a:solidFill>
            <a:srgbClr val="79EB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srgbClr val="ED9D2F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A01077-98AF-DF20-FD09-2F94C814089A}"/>
              </a:ext>
            </a:extLst>
          </p:cNvPr>
          <p:cNvSpPr/>
          <p:nvPr/>
        </p:nvSpPr>
        <p:spPr>
          <a:xfrm>
            <a:off x="3" y="2666356"/>
            <a:ext cx="12191997" cy="838800"/>
          </a:xfrm>
          <a:prstGeom prst="rect">
            <a:avLst/>
          </a:prstGeom>
          <a:solidFill>
            <a:srgbClr val="6BE2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srgbClr val="ED9D2F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C0F6DC0-94E9-D4C8-AAD3-A8D6FA7702AF}"/>
              </a:ext>
            </a:extLst>
          </p:cNvPr>
          <p:cNvSpPr/>
          <p:nvPr/>
        </p:nvSpPr>
        <p:spPr>
          <a:xfrm>
            <a:off x="3" y="3505156"/>
            <a:ext cx="12191997" cy="838800"/>
          </a:xfrm>
          <a:prstGeom prst="rect">
            <a:avLst/>
          </a:prstGeom>
          <a:solidFill>
            <a:srgbClr val="BAF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srgbClr val="ED9D2F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D9B3C16-3200-B197-D41B-D042E151347E}"/>
              </a:ext>
            </a:extLst>
          </p:cNvPr>
          <p:cNvSpPr/>
          <p:nvPr/>
        </p:nvSpPr>
        <p:spPr>
          <a:xfrm>
            <a:off x="3" y="4344210"/>
            <a:ext cx="12191997" cy="838800"/>
          </a:xfrm>
          <a:prstGeom prst="rect">
            <a:avLst/>
          </a:prstGeom>
          <a:solidFill>
            <a:srgbClr val="EE9D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srgbClr val="ED9D2F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26D6787-4553-5D3E-7B18-9C2A30BA4D01}"/>
              </a:ext>
            </a:extLst>
          </p:cNvPr>
          <p:cNvSpPr/>
          <p:nvPr/>
        </p:nvSpPr>
        <p:spPr>
          <a:xfrm>
            <a:off x="3" y="5182756"/>
            <a:ext cx="12191997" cy="838800"/>
          </a:xfrm>
          <a:prstGeom prst="rect">
            <a:avLst/>
          </a:prstGeom>
          <a:solidFill>
            <a:srgbClr val="F6DE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srgbClr val="ED9D2F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236E6EE-78B2-CA18-4E2E-F91A5544C010}"/>
              </a:ext>
            </a:extLst>
          </p:cNvPr>
          <p:cNvSpPr/>
          <p:nvPr/>
        </p:nvSpPr>
        <p:spPr>
          <a:xfrm>
            <a:off x="3" y="6021810"/>
            <a:ext cx="12191997" cy="838800"/>
          </a:xfrm>
          <a:prstGeom prst="rect">
            <a:avLst/>
          </a:prstGeom>
          <a:solidFill>
            <a:srgbClr val="EB59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srgbClr val="ED9D2F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A939DA-26CC-FEBD-F3C5-0E436B9CC0F1}"/>
              </a:ext>
            </a:extLst>
          </p:cNvPr>
          <p:cNvSpPr txBox="1"/>
          <p:nvPr/>
        </p:nvSpPr>
        <p:spPr>
          <a:xfrm>
            <a:off x="52547" y="59714"/>
            <a:ext cx="101399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e agruparon a los clientes en </a:t>
            </a:r>
            <a:r>
              <a:rPr lang="es-ES_tradnl" sz="2800" dirty="0">
                <a:solidFill>
                  <a:srgbClr val="EE9D2F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7</a:t>
            </a:r>
            <a:r>
              <a:rPr lang="es-ES_tradnl" sz="2800" dirty="0">
                <a:solidFill>
                  <a:srgbClr val="6BE27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r>
              <a:rPr lang="es-ES_tradnl" sz="28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cluste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E1CC90-C2DF-E69F-2266-918577B60C68}"/>
              </a:ext>
            </a:extLst>
          </p:cNvPr>
          <p:cNvSpPr txBox="1"/>
          <p:nvPr/>
        </p:nvSpPr>
        <p:spPr>
          <a:xfrm>
            <a:off x="190526" y="807991"/>
            <a:ext cx="3657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7200" b="1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C9F4A3B-B5F4-7FB3-A2D3-BCF6E697BF89}"/>
              </a:ext>
            </a:extLst>
          </p:cNvPr>
          <p:cNvSpPr txBox="1"/>
          <p:nvPr/>
        </p:nvSpPr>
        <p:spPr>
          <a:xfrm>
            <a:off x="190526" y="1646965"/>
            <a:ext cx="3657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7200" b="1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FAFB4C1-E9EB-5053-7464-1A99814476CA}"/>
              </a:ext>
            </a:extLst>
          </p:cNvPr>
          <p:cNvSpPr txBox="1"/>
          <p:nvPr/>
        </p:nvSpPr>
        <p:spPr>
          <a:xfrm>
            <a:off x="190526" y="2485418"/>
            <a:ext cx="3657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7200" b="1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7734402-38B0-379C-AFB5-99AC0EEB7F4F}"/>
              </a:ext>
            </a:extLst>
          </p:cNvPr>
          <p:cNvSpPr txBox="1"/>
          <p:nvPr/>
        </p:nvSpPr>
        <p:spPr>
          <a:xfrm>
            <a:off x="190526" y="3323964"/>
            <a:ext cx="3657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7200" b="1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9002CEF-5ECF-6260-BE8B-6FCACD7463DA}"/>
              </a:ext>
            </a:extLst>
          </p:cNvPr>
          <p:cNvSpPr txBox="1"/>
          <p:nvPr/>
        </p:nvSpPr>
        <p:spPr>
          <a:xfrm>
            <a:off x="190526" y="4163445"/>
            <a:ext cx="3657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7200" b="1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5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7443FFE-3029-C204-81EC-E83B127B4004}"/>
              </a:ext>
            </a:extLst>
          </p:cNvPr>
          <p:cNvSpPr txBox="1"/>
          <p:nvPr/>
        </p:nvSpPr>
        <p:spPr>
          <a:xfrm>
            <a:off x="190526" y="5000963"/>
            <a:ext cx="3657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7200" b="1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6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108587D-0E74-BA1C-6378-096D36F2C9CE}"/>
              </a:ext>
            </a:extLst>
          </p:cNvPr>
          <p:cNvSpPr txBox="1"/>
          <p:nvPr/>
        </p:nvSpPr>
        <p:spPr>
          <a:xfrm>
            <a:off x="190526" y="5826696"/>
            <a:ext cx="3657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7200" b="1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7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AF23A1B-4D8C-3D0F-12E8-B01BED78B0C3}"/>
              </a:ext>
            </a:extLst>
          </p:cNvPr>
          <p:cNvSpPr txBox="1"/>
          <p:nvPr/>
        </p:nvSpPr>
        <p:spPr>
          <a:xfrm>
            <a:off x="1333624" y="681512"/>
            <a:ext cx="6087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Eda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B030610-E7A7-CD04-7D95-6CAE83D4B581}"/>
              </a:ext>
            </a:extLst>
          </p:cNvPr>
          <p:cNvSpPr txBox="1"/>
          <p:nvPr/>
        </p:nvSpPr>
        <p:spPr>
          <a:xfrm>
            <a:off x="2406226" y="680725"/>
            <a:ext cx="9554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_tradnl" sz="14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DC/TDB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85000BC-4E21-1548-F20A-2EA8CD66D6CA}"/>
              </a:ext>
            </a:extLst>
          </p:cNvPr>
          <p:cNvSpPr txBox="1"/>
          <p:nvPr/>
        </p:nvSpPr>
        <p:spPr>
          <a:xfrm>
            <a:off x="3680463" y="680725"/>
            <a:ext cx="254976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_tradnl" sz="14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amaño de de la transacció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C2A3A87-DA73-8E6D-3FBD-8903ADFB09BF}"/>
              </a:ext>
            </a:extLst>
          </p:cNvPr>
          <p:cNvSpPr txBox="1"/>
          <p:nvPr/>
        </p:nvSpPr>
        <p:spPr>
          <a:xfrm>
            <a:off x="6549037" y="680725"/>
            <a:ext cx="15905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_tradnl" sz="14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ipo de Compr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8D0411D-03FB-C38D-6510-8BDECC58B459}"/>
              </a:ext>
            </a:extLst>
          </p:cNvPr>
          <p:cNvSpPr txBox="1"/>
          <p:nvPr/>
        </p:nvSpPr>
        <p:spPr>
          <a:xfrm>
            <a:off x="8458344" y="680725"/>
            <a:ext cx="9554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_tradnl" sz="14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ervicio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3724247-38DE-8442-7699-97625FD0AC76}"/>
              </a:ext>
            </a:extLst>
          </p:cNvPr>
          <p:cNvSpPr txBox="1"/>
          <p:nvPr/>
        </p:nvSpPr>
        <p:spPr>
          <a:xfrm>
            <a:off x="9732583" y="680725"/>
            <a:ext cx="196145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_tradnl" sz="1400" dirty="0">
                <a:solidFill>
                  <a:srgbClr val="EFF4F8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endencia de Gasto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D5912BE-E3E8-5547-4F84-F32633287915}"/>
              </a:ext>
            </a:extLst>
          </p:cNvPr>
          <p:cNvSpPr txBox="1"/>
          <p:nvPr/>
        </p:nvSpPr>
        <p:spPr>
          <a:xfrm>
            <a:off x="1164813" y="1146545"/>
            <a:ext cx="9464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Late 20’s</a:t>
            </a:r>
          </a:p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Early 30’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281B0E4-0328-DEC1-D4D0-0A58EC4348A1}"/>
              </a:ext>
            </a:extLst>
          </p:cNvPr>
          <p:cNvSpPr txBox="1"/>
          <p:nvPr/>
        </p:nvSpPr>
        <p:spPr>
          <a:xfrm>
            <a:off x="1164813" y="1984812"/>
            <a:ext cx="9464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Late 20’s</a:t>
            </a:r>
          </a:p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Early 40’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BD8D1A8-0070-6675-20CE-8333EB55D0E1}"/>
              </a:ext>
            </a:extLst>
          </p:cNvPr>
          <p:cNvSpPr txBox="1"/>
          <p:nvPr/>
        </p:nvSpPr>
        <p:spPr>
          <a:xfrm>
            <a:off x="1164813" y="2822652"/>
            <a:ext cx="9464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Late 20’s</a:t>
            </a:r>
          </a:p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Early 40’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1E4AE39-6ED7-99D0-B3C9-33314955124E}"/>
              </a:ext>
            </a:extLst>
          </p:cNvPr>
          <p:cNvSpPr txBox="1"/>
          <p:nvPr/>
        </p:nvSpPr>
        <p:spPr>
          <a:xfrm>
            <a:off x="1164813" y="3666247"/>
            <a:ext cx="9464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Early</a:t>
            </a:r>
            <a:r>
              <a:rPr lang="es-ES_tradnl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30’s</a:t>
            </a:r>
          </a:p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Early 50’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4077CA8-34E3-F141-673E-59CD6CC90F27}"/>
              </a:ext>
            </a:extLst>
          </p:cNvPr>
          <p:cNvSpPr txBox="1"/>
          <p:nvPr/>
        </p:nvSpPr>
        <p:spPr>
          <a:xfrm>
            <a:off x="1164813" y="4500126"/>
            <a:ext cx="9464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Early</a:t>
            </a:r>
            <a:r>
              <a:rPr lang="es-ES_tradnl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20’s</a:t>
            </a:r>
          </a:p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Early 40’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981A110-8648-8AF0-3383-884A2C8365E8}"/>
              </a:ext>
            </a:extLst>
          </p:cNvPr>
          <p:cNvSpPr txBox="1"/>
          <p:nvPr/>
        </p:nvSpPr>
        <p:spPr>
          <a:xfrm>
            <a:off x="1164813" y="5447238"/>
            <a:ext cx="9464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40+</a:t>
            </a:r>
            <a:endParaRPr lang="es-ES_tradnl" sz="1400" dirty="0">
              <a:solidFill>
                <a:srgbClr val="333333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9495650-1869-C3E4-4E89-C0488A57F438}"/>
              </a:ext>
            </a:extLst>
          </p:cNvPr>
          <p:cNvSpPr txBox="1"/>
          <p:nvPr/>
        </p:nvSpPr>
        <p:spPr>
          <a:xfrm>
            <a:off x="1164813" y="6184570"/>
            <a:ext cx="9464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Late 20’s</a:t>
            </a:r>
          </a:p>
          <a:p>
            <a:pPr algn="ctr"/>
            <a:r>
              <a:rPr lang="es-ES_tradnl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Late</a:t>
            </a:r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40’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A2CD10A-91C4-E261-B2A4-CA6C120F9C88}"/>
              </a:ext>
            </a:extLst>
          </p:cNvPr>
          <p:cNvSpPr txBox="1"/>
          <p:nvPr/>
        </p:nvSpPr>
        <p:spPr>
          <a:xfrm>
            <a:off x="2598223" y="1230706"/>
            <a:ext cx="571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DD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C53D8A9-05B1-7235-4C2C-AA9F6189750F}"/>
              </a:ext>
            </a:extLst>
          </p:cNvPr>
          <p:cNvSpPr txBox="1"/>
          <p:nvPr/>
        </p:nvSpPr>
        <p:spPr>
          <a:xfrm>
            <a:off x="2598223" y="2092533"/>
            <a:ext cx="571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DC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6174C82-3C4C-4E6B-9563-1581C0D2F481}"/>
              </a:ext>
            </a:extLst>
          </p:cNvPr>
          <p:cNvSpPr txBox="1"/>
          <p:nvPr/>
        </p:nvSpPr>
        <p:spPr>
          <a:xfrm>
            <a:off x="2598223" y="2933803"/>
            <a:ext cx="571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DD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8CE9700-74C6-C6D8-CA74-AC9FCEDC2202}"/>
              </a:ext>
            </a:extLst>
          </p:cNvPr>
          <p:cNvSpPr txBox="1"/>
          <p:nvPr/>
        </p:nvSpPr>
        <p:spPr>
          <a:xfrm>
            <a:off x="2598223" y="3768732"/>
            <a:ext cx="571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DD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5C4FAF8-11BA-13C1-3573-8C814B6C9ACB}"/>
              </a:ext>
            </a:extLst>
          </p:cNvPr>
          <p:cNvSpPr txBox="1"/>
          <p:nvPr/>
        </p:nvSpPr>
        <p:spPr>
          <a:xfrm>
            <a:off x="2598223" y="4581083"/>
            <a:ext cx="571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DD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1F3FB28-0A36-2979-0B67-9B8F8A3FE744}"/>
              </a:ext>
            </a:extLst>
          </p:cNvPr>
          <p:cNvSpPr txBox="1"/>
          <p:nvPr/>
        </p:nvSpPr>
        <p:spPr>
          <a:xfrm>
            <a:off x="2598223" y="5447238"/>
            <a:ext cx="571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DC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E2C98BB-E0C0-621D-E559-0D5F027ADD9B}"/>
              </a:ext>
            </a:extLst>
          </p:cNvPr>
          <p:cNvSpPr txBox="1"/>
          <p:nvPr/>
        </p:nvSpPr>
        <p:spPr>
          <a:xfrm>
            <a:off x="2598223" y="6280055"/>
            <a:ext cx="571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DD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937749E-584B-5C69-3D7D-222792AB51EC}"/>
              </a:ext>
            </a:extLst>
          </p:cNvPr>
          <p:cNvSpPr txBox="1"/>
          <p:nvPr/>
        </p:nvSpPr>
        <p:spPr>
          <a:xfrm>
            <a:off x="3709265" y="1230706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ransacciones pequeña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CA99FB2-8D96-C8FE-B355-57EC556C36FC}"/>
              </a:ext>
            </a:extLst>
          </p:cNvPr>
          <p:cNvSpPr txBox="1"/>
          <p:nvPr/>
        </p:nvSpPr>
        <p:spPr>
          <a:xfrm>
            <a:off x="3709265" y="2026949"/>
            <a:ext cx="24345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ransacciones pequeñas y mediana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831B106-883F-04D7-32DA-EE6FDD00838F}"/>
              </a:ext>
            </a:extLst>
          </p:cNvPr>
          <p:cNvSpPr txBox="1"/>
          <p:nvPr/>
        </p:nvSpPr>
        <p:spPr>
          <a:xfrm>
            <a:off x="3709265" y="2930373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ransacciones pequeña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A9806E5-0F63-6C69-2594-1223E4E9FD53}"/>
              </a:ext>
            </a:extLst>
          </p:cNvPr>
          <p:cNvSpPr txBox="1"/>
          <p:nvPr/>
        </p:nvSpPr>
        <p:spPr>
          <a:xfrm>
            <a:off x="3506658" y="3671957"/>
            <a:ext cx="28397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ransacciones pequeñas, dispuestos a realizar mediana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1089890-5197-553C-4CE0-FC627F8FEC80}"/>
              </a:ext>
            </a:extLst>
          </p:cNvPr>
          <p:cNvSpPr txBox="1"/>
          <p:nvPr/>
        </p:nvSpPr>
        <p:spPr>
          <a:xfrm>
            <a:off x="3607962" y="4462379"/>
            <a:ext cx="26371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ransacciones medianas, dispuestos a realizar grande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8741F0E-100F-B4F0-83B8-A07BF385144F}"/>
              </a:ext>
            </a:extLst>
          </p:cNvPr>
          <p:cNvSpPr txBox="1"/>
          <p:nvPr/>
        </p:nvSpPr>
        <p:spPr>
          <a:xfrm>
            <a:off x="3709265" y="5346024"/>
            <a:ext cx="24345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ransacciones pequeñas y medianas</a:t>
            </a:r>
          </a:p>
        </p:txBody>
      </p:sp>
      <p:sp>
        <p:nvSpPr>
          <p:cNvPr id="21504" name="TextBox 21503">
            <a:extLst>
              <a:ext uri="{FF2B5EF4-FFF2-40B4-BE49-F238E27FC236}">
                <a16:creationId xmlns:a16="http://schemas.microsoft.com/office/drawing/2014/main" id="{3CE890CA-B9C6-D28A-3E7C-22607A14C0ED}"/>
              </a:ext>
            </a:extLst>
          </p:cNvPr>
          <p:cNvSpPr txBox="1"/>
          <p:nvPr/>
        </p:nvSpPr>
        <p:spPr>
          <a:xfrm>
            <a:off x="3709265" y="6167720"/>
            <a:ext cx="24345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ransacciones pequeñas y medianas</a:t>
            </a:r>
          </a:p>
        </p:txBody>
      </p:sp>
      <p:sp>
        <p:nvSpPr>
          <p:cNvPr id="21505" name="TextBox 21504">
            <a:extLst>
              <a:ext uri="{FF2B5EF4-FFF2-40B4-BE49-F238E27FC236}">
                <a16:creationId xmlns:a16="http://schemas.microsoft.com/office/drawing/2014/main" id="{8FC7A98D-3DDB-9DD4-1314-3122D3050C8E}"/>
              </a:ext>
            </a:extLst>
          </p:cNvPr>
          <p:cNvSpPr txBox="1"/>
          <p:nvPr/>
        </p:nvSpPr>
        <p:spPr>
          <a:xfrm>
            <a:off x="6135415" y="1230706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Presencial</a:t>
            </a:r>
          </a:p>
        </p:txBody>
      </p:sp>
      <p:sp>
        <p:nvSpPr>
          <p:cNvPr id="21507" name="TextBox 21506">
            <a:extLst>
              <a:ext uri="{FF2B5EF4-FFF2-40B4-BE49-F238E27FC236}">
                <a16:creationId xmlns:a16="http://schemas.microsoft.com/office/drawing/2014/main" id="{506A9573-9722-AF32-9821-8C2497F41166}"/>
              </a:ext>
            </a:extLst>
          </p:cNvPr>
          <p:cNvSpPr txBox="1"/>
          <p:nvPr/>
        </p:nvSpPr>
        <p:spPr>
          <a:xfrm>
            <a:off x="6135415" y="2069506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Presencial</a:t>
            </a:r>
            <a:endParaRPr lang="es-ES_tradnl" sz="1400" dirty="0">
              <a:solidFill>
                <a:srgbClr val="333333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1508" name="TextBox 21507">
            <a:extLst>
              <a:ext uri="{FF2B5EF4-FFF2-40B4-BE49-F238E27FC236}">
                <a16:creationId xmlns:a16="http://schemas.microsoft.com/office/drawing/2014/main" id="{7560B962-CD0C-CCF4-BBA9-200B28E05FFB}"/>
              </a:ext>
            </a:extLst>
          </p:cNvPr>
          <p:cNvSpPr txBox="1"/>
          <p:nvPr/>
        </p:nvSpPr>
        <p:spPr>
          <a:xfrm>
            <a:off x="6135415" y="2951888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Presencial</a:t>
            </a:r>
            <a:endParaRPr lang="es-ES_tradnl" sz="1400" dirty="0">
              <a:solidFill>
                <a:srgbClr val="333333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1509" name="TextBox 21508">
            <a:extLst>
              <a:ext uri="{FF2B5EF4-FFF2-40B4-BE49-F238E27FC236}">
                <a16:creationId xmlns:a16="http://schemas.microsoft.com/office/drawing/2014/main" id="{18748D6B-3BE0-4366-7BE5-F072FD843A7F}"/>
              </a:ext>
            </a:extLst>
          </p:cNvPr>
          <p:cNvSpPr txBox="1"/>
          <p:nvPr/>
        </p:nvSpPr>
        <p:spPr>
          <a:xfrm>
            <a:off x="6135415" y="3750647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Presencial</a:t>
            </a:r>
            <a:endParaRPr lang="es-ES_tradnl" sz="1400" dirty="0">
              <a:solidFill>
                <a:srgbClr val="333333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1514" name="TextBox 21513">
            <a:extLst>
              <a:ext uri="{FF2B5EF4-FFF2-40B4-BE49-F238E27FC236}">
                <a16:creationId xmlns:a16="http://schemas.microsoft.com/office/drawing/2014/main" id="{C415CC72-0C42-1371-5C07-78AB4D298547}"/>
              </a:ext>
            </a:extLst>
          </p:cNvPr>
          <p:cNvSpPr txBox="1"/>
          <p:nvPr/>
        </p:nvSpPr>
        <p:spPr>
          <a:xfrm>
            <a:off x="6135415" y="4562998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En Línea</a:t>
            </a:r>
          </a:p>
        </p:txBody>
      </p:sp>
      <p:sp>
        <p:nvSpPr>
          <p:cNvPr id="21515" name="TextBox 21514">
            <a:extLst>
              <a:ext uri="{FF2B5EF4-FFF2-40B4-BE49-F238E27FC236}">
                <a16:creationId xmlns:a16="http://schemas.microsoft.com/office/drawing/2014/main" id="{E54AAB1D-5E17-F8CA-3F2D-3BA2E656C95A}"/>
              </a:ext>
            </a:extLst>
          </p:cNvPr>
          <p:cNvSpPr txBox="1"/>
          <p:nvPr/>
        </p:nvSpPr>
        <p:spPr>
          <a:xfrm>
            <a:off x="6135415" y="5442447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Presencial</a:t>
            </a:r>
            <a:endParaRPr lang="es-ES_tradnl" sz="1400" dirty="0">
              <a:solidFill>
                <a:srgbClr val="333333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1516" name="TextBox 21515">
            <a:extLst>
              <a:ext uri="{FF2B5EF4-FFF2-40B4-BE49-F238E27FC236}">
                <a16:creationId xmlns:a16="http://schemas.microsoft.com/office/drawing/2014/main" id="{25A8FCB2-3A97-3C00-1D22-047ADD40968A}"/>
              </a:ext>
            </a:extLst>
          </p:cNvPr>
          <p:cNvSpPr txBox="1"/>
          <p:nvPr/>
        </p:nvSpPr>
        <p:spPr>
          <a:xfrm>
            <a:off x="6135415" y="6260143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Presencial</a:t>
            </a:r>
            <a:endParaRPr lang="es-ES_tradnl" sz="1400" dirty="0">
              <a:solidFill>
                <a:srgbClr val="333333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1523" name="TextBox 21522">
            <a:extLst>
              <a:ext uri="{FF2B5EF4-FFF2-40B4-BE49-F238E27FC236}">
                <a16:creationId xmlns:a16="http://schemas.microsoft.com/office/drawing/2014/main" id="{CDA613F4-8083-BC74-2D23-770E54885265}"/>
              </a:ext>
            </a:extLst>
          </p:cNvPr>
          <p:cNvSpPr txBox="1"/>
          <p:nvPr/>
        </p:nvSpPr>
        <p:spPr>
          <a:xfrm>
            <a:off x="7757908" y="1226835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Retail</a:t>
            </a:r>
          </a:p>
        </p:txBody>
      </p:sp>
      <p:sp>
        <p:nvSpPr>
          <p:cNvPr id="21524" name="TextBox 21523">
            <a:extLst>
              <a:ext uri="{FF2B5EF4-FFF2-40B4-BE49-F238E27FC236}">
                <a16:creationId xmlns:a16="http://schemas.microsoft.com/office/drawing/2014/main" id="{13D26947-933D-2AC4-0929-384F6913B3E8}"/>
              </a:ext>
            </a:extLst>
          </p:cNvPr>
          <p:cNvSpPr txBox="1"/>
          <p:nvPr/>
        </p:nvSpPr>
        <p:spPr>
          <a:xfrm>
            <a:off x="7757908" y="2065635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Retail y Super</a:t>
            </a:r>
          </a:p>
        </p:txBody>
      </p:sp>
      <p:sp>
        <p:nvSpPr>
          <p:cNvPr id="21525" name="TextBox 21524">
            <a:extLst>
              <a:ext uri="{FF2B5EF4-FFF2-40B4-BE49-F238E27FC236}">
                <a16:creationId xmlns:a16="http://schemas.microsoft.com/office/drawing/2014/main" id="{01F4983E-EB56-65F6-8A16-4F69F1FCADE6}"/>
              </a:ext>
            </a:extLst>
          </p:cNvPr>
          <p:cNvSpPr txBox="1"/>
          <p:nvPr/>
        </p:nvSpPr>
        <p:spPr>
          <a:xfrm>
            <a:off x="7757908" y="2948017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Retail</a:t>
            </a:r>
          </a:p>
        </p:txBody>
      </p:sp>
      <p:sp>
        <p:nvSpPr>
          <p:cNvPr id="21526" name="TextBox 21525">
            <a:extLst>
              <a:ext uri="{FF2B5EF4-FFF2-40B4-BE49-F238E27FC236}">
                <a16:creationId xmlns:a16="http://schemas.microsoft.com/office/drawing/2014/main" id="{D5912562-6D46-1DB4-206E-74AC06219C1C}"/>
              </a:ext>
            </a:extLst>
          </p:cNvPr>
          <p:cNvSpPr txBox="1"/>
          <p:nvPr/>
        </p:nvSpPr>
        <p:spPr>
          <a:xfrm>
            <a:off x="7757908" y="3746776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Retail y Super</a:t>
            </a:r>
          </a:p>
        </p:txBody>
      </p:sp>
      <p:sp>
        <p:nvSpPr>
          <p:cNvPr id="21527" name="TextBox 21526">
            <a:extLst>
              <a:ext uri="{FF2B5EF4-FFF2-40B4-BE49-F238E27FC236}">
                <a16:creationId xmlns:a16="http://schemas.microsoft.com/office/drawing/2014/main" id="{193E66F1-7F25-EB7F-B651-D3A529FC5759}"/>
              </a:ext>
            </a:extLst>
          </p:cNvPr>
          <p:cNvSpPr txBox="1"/>
          <p:nvPr/>
        </p:nvSpPr>
        <p:spPr>
          <a:xfrm>
            <a:off x="7757908" y="4559127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Retail y Super</a:t>
            </a:r>
          </a:p>
        </p:txBody>
      </p:sp>
      <p:sp>
        <p:nvSpPr>
          <p:cNvPr id="21528" name="TextBox 21527">
            <a:extLst>
              <a:ext uri="{FF2B5EF4-FFF2-40B4-BE49-F238E27FC236}">
                <a16:creationId xmlns:a16="http://schemas.microsoft.com/office/drawing/2014/main" id="{A164C90B-FA4C-5CF5-D57D-EDE57E684744}"/>
              </a:ext>
            </a:extLst>
          </p:cNvPr>
          <p:cNvSpPr txBox="1"/>
          <p:nvPr/>
        </p:nvSpPr>
        <p:spPr>
          <a:xfrm>
            <a:off x="7757908" y="5438576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Retail y Super</a:t>
            </a:r>
          </a:p>
        </p:txBody>
      </p:sp>
      <p:sp>
        <p:nvSpPr>
          <p:cNvPr id="21529" name="TextBox 21528">
            <a:extLst>
              <a:ext uri="{FF2B5EF4-FFF2-40B4-BE49-F238E27FC236}">
                <a16:creationId xmlns:a16="http://schemas.microsoft.com/office/drawing/2014/main" id="{06928B2C-FCDE-1143-61BB-7F3E06C355E1}"/>
              </a:ext>
            </a:extLst>
          </p:cNvPr>
          <p:cNvSpPr txBox="1"/>
          <p:nvPr/>
        </p:nvSpPr>
        <p:spPr>
          <a:xfrm>
            <a:off x="7757908" y="6256272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Retail y Super</a:t>
            </a:r>
          </a:p>
        </p:txBody>
      </p:sp>
      <p:sp>
        <p:nvSpPr>
          <p:cNvPr id="21530" name="TextBox 21529">
            <a:extLst>
              <a:ext uri="{FF2B5EF4-FFF2-40B4-BE49-F238E27FC236}">
                <a16:creationId xmlns:a16="http://schemas.microsoft.com/office/drawing/2014/main" id="{7DD4BF0D-7B6F-D848-B822-EB8F9C2297E7}"/>
              </a:ext>
            </a:extLst>
          </p:cNvPr>
          <p:cNvSpPr txBox="1"/>
          <p:nvPr/>
        </p:nvSpPr>
        <p:spPr>
          <a:xfrm>
            <a:off x="9499446" y="1230706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Bajos</a:t>
            </a:r>
          </a:p>
        </p:txBody>
      </p:sp>
      <p:sp>
        <p:nvSpPr>
          <p:cNvPr id="21531" name="TextBox 21530">
            <a:extLst>
              <a:ext uri="{FF2B5EF4-FFF2-40B4-BE49-F238E27FC236}">
                <a16:creationId xmlns:a16="http://schemas.microsoft.com/office/drawing/2014/main" id="{A19001D1-1781-9A81-BC8A-305BCD5757BE}"/>
              </a:ext>
            </a:extLst>
          </p:cNvPr>
          <p:cNvSpPr txBox="1"/>
          <p:nvPr/>
        </p:nvSpPr>
        <p:spPr>
          <a:xfrm>
            <a:off x="9499446" y="2069506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Volátil</a:t>
            </a:r>
          </a:p>
        </p:txBody>
      </p:sp>
      <p:sp>
        <p:nvSpPr>
          <p:cNvPr id="21532" name="TextBox 21531">
            <a:extLst>
              <a:ext uri="{FF2B5EF4-FFF2-40B4-BE49-F238E27FC236}">
                <a16:creationId xmlns:a16="http://schemas.microsoft.com/office/drawing/2014/main" id="{0AD1ED7F-D413-3E53-7780-40E53506921E}"/>
              </a:ext>
            </a:extLst>
          </p:cNvPr>
          <p:cNvSpPr txBox="1"/>
          <p:nvPr/>
        </p:nvSpPr>
        <p:spPr>
          <a:xfrm>
            <a:off x="9499446" y="2951888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Más bajos</a:t>
            </a:r>
          </a:p>
        </p:txBody>
      </p:sp>
      <p:sp>
        <p:nvSpPr>
          <p:cNvPr id="21533" name="TextBox 21532">
            <a:extLst>
              <a:ext uri="{FF2B5EF4-FFF2-40B4-BE49-F238E27FC236}">
                <a16:creationId xmlns:a16="http://schemas.microsoft.com/office/drawing/2014/main" id="{2E457A82-4A49-B051-7CB7-2C151B2C5F46}"/>
              </a:ext>
            </a:extLst>
          </p:cNvPr>
          <p:cNvSpPr txBox="1"/>
          <p:nvPr/>
        </p:nvSpPr>
        <p:spPr>
          <a:xfrm>
            <a:off x="9499446" y="3750647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Pequeño y mediano</a:t>
            </a:r>
          </a:p>
        </p:txBody>
      </p:sp>
      <p:sp>
        <p:nvSpPr>
          <p:cNvPr id="21534" name="TextBox 21533">
            <a:extLst>
              <a:ext uri="{FF2B5EF4-FFF2-40B4-BE49-F238E27FC236}">
                <a16:creationId xmlns:a16="http://schemas.microsoft.com/office/drawing/2014/main" id="{A31C7AA6-C7F4-C199-4118-6862778708FF}"/>
              </a:ext>
            </a:extLst>
          </p:cNvPr>
          <p:cNvSpPr txBox="1"/>
          <p:nvPr/>
        </p:nvSpPr>
        <p:spPr>
          <a:xfrm>
            <a:off x="9499446" y="4562998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Mediano</a:t>
            </a:r>
          </a:p>
        </p:txBody>
      </p:sp>
      <p:sp>
        <p:nvSpPr>
          <p:cNvPr id="21535" name="TextBox 21534">
            <a:extLst>
              <a:ext uri="{FF2B5EF4-FFF2-40B4-BE49-F238E27FC236}">
                <a16:creationId xmlns:a16="http://schemas.microsoft.com/office/drawing/2014/main" id="{D46FF598-E2AE-88C0-D013-9E8553393892}"/>
              </a:ext>
            </a:extLst>
          </p:cNvPr>
          <p:cNvSpPr txBox="1"/>
          <p:nvPr/>
        </p:nvSpPr>
        <p:spPr>
          <a:xfrm>
            <a:off x="9499446" y="5442447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Grande</a:t>
            </a:r>
          </a:p>
        </p:txBody>
      </p:sp>
      <p:sp>
        <p:nvSpPr>
          <p:cNvPr id="21536" name="TextBox 21535">
            <a:extLst>
              <a:ext uri="{FF2B5EF4-FFF2-40B4-BE49-F238E27FC236}">
                <a16:creationId xmlns:a16="http://schemas.microsoft.com/office/drawing/2014/main" id="{219F31C3-5DD2-37F4-3A94-6A8313D0C9C7}"/>
              </a:ext>
            </a:extLst>
          </p:cNvPr>
          <p:cNvSpPr txBox="1"/>
          <p:nvPr/>
        </p:nvSpPr>
        <p:spPr>
          <a:xfrm>
            <a:off x="9499446" y="6260143"/>
            <a:ext cx="2434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dirty="0">
                <a:solidFill>
                  <a:srgbClr val="33333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920664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6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1.24659000000000008690E+00&quot;&gt;&lt;m_msothmcolidx val=&quot;0&quot;/&gt;&lt;m_rgb r=&quot;BA&quot; g=&quot;F3&quot; b=&quot;40&quot;/&gt;&lt;/elem&gt;&lt;elem m_fUsage=&quot;1.00000000000000000000E+00&quot;&gt;&lt;m_msothmcolidx val=&quot;0&quot;/&gt;&lt;m_rgb r=&quot;F9&quot; g=&quot;CA&quot; b=&quot;35&quot;/&gt;&lt;/elem&gt;&lt;elem m_fUsage=&quot;9.00000000000000022204E-01&quot;&gt;&lt;m_msothmcolidx val=&quot;0&quot;/&gt;&lt;m_rgb r=&quot;63&quot; g=&quot;D1&quot; b=&quot;67&quot;/&gt;&lt;/elem&gt;&lt;elem m_fUsage=&quot;8.10000000000000053291E-01&quot;&gt;&lt;m_msothmcolidx val=&quot;0&quot;/&gt;&lt;m_rgb r=&quot;ED&quot; g=&quot;49&quot; b=&quot;5F&quot;/&gt;&lt;/elem&gt;&lt;elem m_fUsage=&quot;7.29000000000000092371E-01&quot;&gt;&lt;m_msothmcolidx val=&quot;0&quot;/&gt;&lt;m_rgb r=&quot;F6&quot; g=&quot;DE&quot; b=&quot;32&quot;/&gt;&lt;/elem&gt;&lt;elem m_fUsage=&quot;5.31441000000000163261E-01&quot;&gt;&lt;m_msothmcolidx val=&quot;0&quot;/&gt;&lt;m_rgb r=&quot;C4&quot; g=&quot;48&quot; b=&quot;43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QYXeBFJz2hQvoltng9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5</TotalTime>
  <Words>534</Words>
  <Application>Microsoft Macintosh PowerPoint</Application>
  <PresentationFormat>Widescreen</PresentationFormat>
  <Paragraphs>167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Malgun Gothic</vt:lpstr>
      <vt:lpstr>Aharoni</vt:lpstr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an Sebastian Neira González</dc:creator>
  <cp:lastModifiedBy>Álvaro David López Chávez</cp:lastModifiedBy>
  <cp:revision>2</cp:revision>
  <dcterms:created xsi:type="dcterms:W3CDTF">2023-05-06T16:38:26Z</dcterms:created>
  <dcterms:modified xsi:type="dcterms:W3CDTF">2023-05-07T17:55:42Z</dcterms:modified>
</cp:coreProperties>
</file>